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handoutMasterIdLst>
    <p:handoutMasterId r:id="rId10"/>
  </p:handoutMasterIdLst>
  <p:sldIdLst>
    <p:sldId id="2113691785" r:id="rId5"/>
    <p:sldId id="2113691814" r:id="rId6"/>
    <p:sldId id="2113691815" r:id="rId7"/>
    <p:sldId id="2113691816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DE6A63-A1CD-4C0F-0385-47C7FED81699}" name="Vicki Frye" initials="VF" userId="S::vicki.frye@cornerstone-bb.com::ba2fbb5b-0dfb-4060-92f5-df2f9673dd26" providerId="AD"/>
  <p188:author id="{53207664-4549-7C64-719D-0BED8683E489}" name="Gustavo F Chohfi" initials="GC" userId="S::gustavo.chohfi@cornerstone-bb.com::7b6a3f48-1ac9-483d-a11b-745e3a971a7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stavo F Chohfi" initials="" lastIdx="1" clrIdx="0"/>
  <p:cmAuthor id="2" name="Emerson Pacheco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08" autoAdjust="0"/>
    <p:restoredTop sz="96357" autoAdjust="0"/>
  </p:normalViewPr>
  <p:slideViewPr>
    <p:cSldViewPr snapToGrid="0">
      <p:cViewPr varScale="1">
        <p:scale>
          <a:sx n="73" d="100"/>
          <a:sy n="73" d="100"/>
        </p:scale>
        <p:origin x="600" y="66"/>
      </p:cViewPr>
      <p:guideLst/>
    </p:cSldViewPr>
  </p:slideViewPr>
  <p:outlineViewPr>
    <p:cViewPr>
      <p:scale>
        <a:sx n="33" d="100"/>
        <a:sy n="33" d="100"/>
      </p:scale>
      <p:origin x="0" y="-65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5454"/>
    </p:cViewPr>
  </p:sorterViewPr>
  <p:notesViewPr>
    <p:cSldViewPr snapToGrid="0">
      <p:cViewPr varScale="1">
        <p:scale>
          <a:sx n="51" d="100"/>
          <a:sy n="51" d="100"/>
        </p:scale>
        <p:origin x="2692" y="2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FF5151-7488-49D1-88FB-1DB3CD690B9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843EB05-1BF4-49B1-8CF5-3E7D5B8FA2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3026C1-E43C-426E-BB91-CE47CC434366}" type="datetimeFigureOut">
              <a:rPr lang="en-US" smtClean="0"/>
              <a:t>8/31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0D1CC9-6178-49DE-8B2F-E5199638562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DB81A6-C35D-4F5A-B537-AD30E02137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A6DB7B-18BF-40DE-BB2A-1721E7FF7C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2239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15EE3C-C8E3-4A7B-A837-9325CB8A5321}" type="datetimeFigureOut">
              <a:rPr lang="en-US" smtClean="0"/>
              <a:t>8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E414C6-767F-47DB-BB78-F4D5DE1E84C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0432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E414C6-767F-47DB-BB78-F4D5DE1E84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9086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36D58C8E-E883-2443-B2E5-25C0FC39471C}"/>
              </a:ext>
            </a:extLst>
          </p:cNvPr>
          <p:cNvGrpSpPr/>
          <p:nvPr userDrawn="1"/>
        </p:nvGrpSpPr>
        <p:grpSpPr>
          <a:xfrm>
            <a:off x="-4240" y="0"/>
            <a:ext cx="7508528" cy="6858000"/>
            <a:chOff x="-4240" y="0"/>
            <a:chExt cx="7508528" cy="6858000"/>
          </a:xfrm>
        </p:grpSpPr>
        <p:sp>
          <p:nvSpPr>
            <p:cNvPr id="16" name="Rectangle 4">
              <a:extLst>
                <a:ext uri="{FF2B5EF4-FFF2-40B4-BE49-F238E27FC236}">
                  <a16:creationId xmlns:a16="http://schemas.microsoft.com/office/drawing/2014/main" id="{3DB66A11-F772-424A-9A7B-92112C4AB3C6}"/>
                </a:ext>
              </a:extLst>
            </p:cNvPr>
            <p:cNvSpPr/>
            <p:nvPr userDrawn="1"/>
          </p:nvSpPr>
          <p:spPr>
            <a:xfrm>
              <a:off x="-4240" y="539729"/>
              <a:ext cx="7414910" cy="6318271"/>
            </a:xfrm>
            <a:custGeom>
              <a:avLst/>
              <a:gdLst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7504288 w 7504288"/>
                <a:gd name="connsiteY2" fmla="*/ 6858000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5094242 w 7504288"/>
                <a:gd name="connsiteY2" fmla="*/ 6843824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86998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89378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89378 w 7504288"/>
                <a:gd name="connsiteY4" fmla="*/ 0 h 6860758"/>
                <a:gd name="connsiteX0" fmla="*/ 0 w 7414910"/>
                <a:gd name="connsiteY0" fmla="*/ 0 h 6860758"/>
                <a:gd name="connsiteX1" fmla="*/ 7414910 w 7414910"/>
                <a:gd name="connsiteY1" fmla="*/ 0 h 6860758"/>
                <a:gd name="connsiteX2" fmla="*/ 4812559 w 7414910"/>
                <a:gd name="connsiteY2" fmla="*/ 6860758 h 6860758"/>
                <a:gd name="connsiteX3" fmla="*/ 6875 w 7414910"/>
                <a:gd name="connsiteY3" fmla="*/ 6342361 h 6860758"/>
                <a:gd name="connsiteX4" fmla="*/ 0 w 7414910"/>
                <a:gd name="connsiteY4" fmla="*/ 0 h 6860758"/>
                <a:gd name="connsiteX0" fmla="*/ 0 w 7414910"/>
                <a:gd name="connsiteY0" fmla="*/ 0 h 6342361"/>
                <a:gd name="connsiteX1" fmla="*/ 7414910 w 7414910"/>
                <a:gd name="connsiteY1" fmla="*/ 0 h 6342361"/>
                <a:gd name="connsiteX2" fmla="*/ 5011940 w 7414910"/>
                <a:gd name="connsiteY2" fmla="*/ 6324493 h 6342361"/>
                <a:gd name="connsiteX3" fmla="*/ 6875 w 7414910"/>
                <a:gd name="connsiteY3" fmla="*/ 6342361 h 6342361"/>
                <a:gd name="connsiteX4" fmla="*/ 0 w 7414910"/>
                <a:gd name="connsiteY4" fmla="*/ 0 h 6342361"/>
                <a:gd name="connsiteX0" fmla="*/ 0 w 7414910"/>
                <a:gd name="connsiteY0" fmla="*/ 0 h 6324493"/>
                <a:gd name="connsiteX1" fmla="*/ 7414910 w 7414910"/>
                <a:gd name="connsiteY1" fmla="*/ 0 h 6324493"/>
                <a:gd name="connsiteX2" fmla="*/ 5011940 w 7414910"/>
                <a:gd name="connsiteY2" fmla="*/ 6324493 h 6324493"/>
                <a:gd name="connsiteX3" fmla="*/ 6875 w 7414910"/>
                <a:gd name="connsiteY3" fmla="*/ 6321735 h 6324493"/>
                <a:gd name="connsiteX4" fmla="*/ 0 w 7414910"/>
                <a:gd name="connsiteY4" fmla="*/ 0 h 632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4910" h="6324493">
                  <a:moveTo>
                    <a:pt x="0" y="0"/>
                  </a:moveTo>
                  <a:lnTo>
                    <a:pt x="7414910" y="0"/>
                  </a:lnTo>
                  <a:lnTo>
                    <a:pt x="5011940" y="6324493"/>
                  </a:lnTo>
                  <a:lnTo>
                    <a:pt x="6875" y="6321735"/>
                  </a:lnTo>
                  <a:cubicBezTo>
                    <a:pt x="4583" y="4207615"/>
                    <a:pt x="2292" y="2114120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4">
              <a:extLst>
                <a:ext uri="{FF2B5EF4-FFF2-40B4-BE49-F238E27FC236}">
                  <a16:creationId xmlns:a16="http://schemas.microsoft.com/office/drawing/2014/main" id="{614EA971-1710-1944-B40A-10944B8EEDBA}"/>
                </a:ext>
              </a:extLst>
            </p:cNvPr>
            <p:cNvSpPr/>
            <p:nvPr userDrawn="1"/>
          </p:nvSpPr>
          <p:spPr>
            <a:xfrm>
              <a:off x="0" y="0"/>
              <a:ext cx="7504288" cy="6858000"/>
            </a:xfrm>
            <a:custGeom>
              <a:avLst/>
              <a:gdLst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7504288 w 7504288"/>
                <a:gd name="connsiteY2" fmla="*/ 6858000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5094242 w 7504288"/>
                <a:gd name="connsiteY2" fmla="*/ 6843824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86998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4288" h="6860758">
                  <a:moveTo>
                    <a:pt x="0" y="0"/>
                  </a:moveTo>
                  <a:lnTo>
                    <a:pt x="7504288" y="0"/>
                  </a:lnTo>
                  <a:lnTo>
                    <a:pt x="4901937" y="6860758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4">
              <a:extLst>
                <a:ext uri="{FF2B5EF4-FFF2-40B4-BE49-F238E27FC236}">
                  <a16:creationId xmlns:a16="http://schemas.microsoft.com/office/drawing/2014/main" id="{8E686BBF-8870-AD4B-8465-7A26F24A2049}"/>
                </a:ext>
              </a:extLst>
            </p:cNvPr>
            <p:cNvSpPr/>
            <p:nvPr userDrawn="1"/>
          </p:nvSpPr>
          <p:spPr>
            <a:xfrm>
              <a:off x="-2620" y="0"/>
              <a:ext cx="7385805" cy="6858000"/>
            </a:xfrm>
            <a:custGeom>
              <a:avLst/>
              <a:gdLst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7504288 w 7504288"/>
                <a:gd name="connsiteY2" fmla="*/ 6858000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5094242 w 7504288"/>
                <a:gd name="connsiteY2" fmla="*/ 6843824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86998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103128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103128 w 7504288"/>
                <a:gd name="connsiteY4" fmla="*/ 0 h 6860758"/>
                <a:gd name="connsiteX0" fmla="*/ 0 w 7401160"/>
                <a:gd name="connsiteY0" fmla="*/ 0 h 6860758"/>
                <a:gd name="connsiteX1" fmla="*/ 7401160 w 7401160"/>
                <a:gd name="connsiteY1" fmla="*/ 0 h 6860758"/>
                <a:gd name="connsiteX2" fmla="*/ 4798809 w 7401160"/>
                <a:gd name="connsiteY2" fmla="*/ 6860758 h 6860758"/>
                <a:gd name="connsiteX3" fmla="*/ 0 w 7401160"/>
                <a:gd name="connsiteY3" fmla="*/ 6858000 h 6860758"/>
                <a:gd name="connsiteX4" fmla="*/ 0 w 7401160"/>
                <a:gd name="connsiteY4" fmla="*/ 0 h 686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01160" h="6860758">
                  <a:moveTo>
                    <a:pt x="0" y="0"/>
                  </a:moveTo>
                  <a:lnTo>
                    <a:pt x="7401160" y="0"/>
                  </a:lnTo>
                  <a:lnTo>
                    <a:pt x="4798809" y="6860758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BBF2070A-6B03-C74A-BF7A-0185749295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751472" y="4301054"/>
            <a:ext cx="4819012" cy="114361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9B97E306-A4E2-8F42-BB8C-5EF8C4EB64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1472" y="5464912"/>
            <a:ext cx="4819012" cy="1079423"/>
          </a:xfrm>
        </p:spPr>
        <p:txBody>
          <a:bodyPr>
            <a:normAutofit/>
          </a:bodyPr>
          <a:lstStyle>
            <a:lvl1pPr marL="0" indent="0"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Presentation Subtitl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F3BC922-A4CC-2440-9D42-E08C74D168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7862" y="0"/>
            <a:ext cx="7391047" cy="2221992"/>
          </a:xfrm>
          <a:custGeom>
            <a:avLst/>
            <a:gdLst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742632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655764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557646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453143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479269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0 w 7374074"/>
              <a:gd name="connsiteY0" fmla="*/ 0 h 2260600"/>
              <a:gd name="connsiteX1" fmla="*/ 7374074 w 7374074"/>
              <a:gd name="connsiteY1" fmla="*/ 0 h 2260600"/>
              <a:gd name="connsiteX2" fmla="*/ 6479269 w 7374074"/>
              <a:gd name="connsiteY2" fmla="*/ 2260600 h 2260600"/>
              <a:gd name="connsiteX3" fmla="*/ 0 w 7374074"/>
              <a:gd name="connsiteY3" fmla="*/ 2260600 h 2260600"/>
              <a:gd name="connsiteX4" fmla="*/ 0 w 7374074"/>
              <a:gd name="connsiteY4" fmla="*/ 0 h 2260600"/>
              <a:gd name="connsiteX0" fmla="*/ 0 w 7341417"/>
              <a:gd name="connsiteY0" fmla="*/ 0 h 2260600"/>
              <a:gd name="connsiteX1" fmla="*/ 7341417 w 7341417"/>
              <a:gd name="connsiteY1" fmla="*/ 0 h 2260600"/>
              <a:gd name="connsiteX2" fmla="*/ 6479269 w 7341417"/>
              <a:gd name="connsiteY2" fmla="*/ 2260600 h 2260600"/>
              <a:gd name="connsiteX3" fmla="*/ 0 w 7341417"/>
              <a:gd name="connsiteY3" fmla="*/ 2260600 h 2260600"/>
              <a:gd name="connsiteX4" fmla="*/ 0 w 7341417"/>
              <a:gd name="connsiteY4" fmla="*/ 0 h 2260600"/>
              <a:gd name="connsiteX0" fmla="*/ 0 w 7341417"/>
              <a:gd name="connsiteY0" fmla="*/ 0 h 2260600"/>
              <a:gd name="connsiteX1" fmla="*/ 7341417 w 7341417"/>
              <a:gd name="connsiteY1" fmla="*/ 0 h 2260600"/>
              <a:gd name="connsiteX2" fmla="*/ 6498863 w 7341417"/>
              <a:gd name="connsiteY2" fmla="*/ 2260600 h 2260600"/>
              <a:gd name="connsiteX3" fmla="*/ 0 w 7341417"/>
              <a:gd name="connsiteY3" fmla="*/ 2260600 h 2260600"/>
              <a:gd name="connsiteX4" fmla="*/ 0 w 7341417"/>
              <a:gd name="connsiteY4" fmla="*/ 0 h 2260600"/>
              <a:gd name="connsiteX0" fmla="*/ 0 w 7341417"/>
              <a:gd name="connsiteY0" fmla="*/ 0 h 2260600"/>
              <a:gd name="connsiteX1" fmla="*/ 7341417 w 7341417"/>
              <a:gd name="connsiteY1" fmla="*/ 0 h 2260600"/>
              <a:gd name="connsiteX2" fmla="*/ 6505170 w 7341417"/>
              <a:gd name="connsiteY2" fmla="*/ 2260600 h 2260600"/>
              <a:gd name="connsiteX3" fmla="*/ 0 w 7341417"/>
              <a:gd name="connsiteY3" fmla="*/ 2260600 h 2260600"/>
              <a:gd name="connsiteX4" fmla="*/ 0 w 7341417"/>
              <a:gd name="connsiteY4" fmla="*/ 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41417" h="2260600">
                <a:moveTo>
                  <a:pt x="0" y="0"/>
                </a:moveTo>
                <a:lnTo>
                  <a:pt x="7341417" y="0"/>
                </a:lnTo>
                <a:lnTo>
                  <a:pt x="6505170" y="2260600"/>
                </a:lnTo>
                <a:lnTo>
                  <a:pt x="0" y="22606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1DBA0D7F-0FCC-CB46-8B37-155EB25404C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7862" y="2311957"/>
            <a:ext cx="6519787" cy="2221992"/>
          </a:xfrm>
          <a:custGeom>
            <a:avLst/>
            <a:gdLst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742632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655764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557646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453143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842554 w 7289166"/>
              <a:gd name="connsiteY0" fmla="*/ 0 h 2260600"/>
              <a:gd name="connsiteX1" fmla="*/ 7289166 w 7289166"/>
              <a:gd name="connsiteY1" fmla="*/ 0 h 2260600"/>
              <a:gd name="connsiteX2" fmla="*/ 6453143 w 7289166"/>
              <a:gd name="connsiteY2" fmla="*/ 2260600 h 2260600"/>
              <a:gd name="connsiteX3" fmla="*/ 0 w 7289166"/>
              <a:gd name="connsiteY3" fmla="*/ 2260600 h 2260600"/>
              <a:gd name="connsiteX4" fmla="*/ 842554 w 7289166"/>
              <a:gd name="connsiteY4" fmla="*/ 0 h 2260600"/>
              <a:gd name="connsiteX0" fmla="*/ 6532 w 6453144"/>
              <a:gd name="connsiteY0" fmla="*/ 0 h 2260600"/>
              <a:gd name="connsiteX1" fmla="*/ 6453144 w 6453144"/>
              <a:gd name="connsiteY1" fmla="*/ 0 h 2260600"/>
              <a:gd name="connsiteX2" fmla="*/ 5617121 w 6453144"/>
              <a:gd name="connsiteY2" fmla="*/ 2260600 h 2260600"/>
              <a:gd name="connsiteX3" fmla="*/ 0 w 6453144"/>
              <a:gd name="connsiteY3" fmla="*/ 2260600 h 2260600"/>
              <a:gd name="connsiteX4" fmla="*/ 6532 w 6453144"/>
              <a:gd name="connsiteY4" fmla="*/ 0 h 2260600"/>
              <a:gd name="connsiteX0" fmla="*/ 6532 w 6466207"/>
              <a:gd name="connsiteY0" fmla="*/ 0 h 2260600"/>
              <a:gd name="connsiteX1" fmla="*/ 6466207 w 6466207"/>
              <a:gd name="connsiteY1" fmla="*/ 0 h 2260600"/>
              <a:gd name="connsiteX2" fmla="*/ 5617121 w 6466207"/>
              <a:gd name="connsiteY2" fmla="*/ 2260600 h 2260600"/>
              <a:gd name="connsiteX3" fmla="*/ 0 w 6466207"/>
              <a:gd name="connsiteY3" fmla="*/ 2260600 h 2260600"/>
              <a:gd name="connsiteX4" fmla="*/ 6532 w 6466207"/>
              <a:gd name="connsiteY4" fmla="*/ 0 h 2260600"/>
              <a:gd name="connsiteX0" fmla="*/ 6532 w 6466207"/>
              <a:gd name="connsiteY0" fmla="*/ 0 h 2260600"/>
              <a:gd name="connsiteX1" fmla="*/ 6466207 w 6466207"/>
              <a:gd name="connsiteY1" fmla="*/ 0 h 2260600"/>
              <a:gd name="connsiteX2" fmla="*/ 5636598 w 6466207"/>
              <a:gd name="connsiteY2" fmla="*/ 2260600 h 2260600"/>
              <a:gd name="connsiteX3" fmla="*/ 0 w 6466207"/>
              <a:gd name="connsiteY3" fmla="*/ 2260600 h 2260600"/>
              <a:gd name="connsiteX4" fmla="*/ 6532 w 6466207"/>
              <a:gd name="connsiteY4" fmla="*/ 0 h 2260600"/>
              <a:gd name="connsiteX0" fmla="*/ 6532 w 6466207"/>
              <a:gd name="connsiteY0" fmla="*/ 0 h 2260600"/>
              <a:gd name="connsiteX1" fmla="*/ 6466207 w 6466207"/>
              <a:gd name="connsiteY1" fmla="*/ 0 h 2260600"/>
              <a:gd name="connsiteX2" fmla="*/ 5636598 w 6466207"/>
              <a:gd name="connsiteY2" fmla="*/ 2260600 h 2260600"/>
              <a:gd name="connsiteX3" fmla="*/ 0 w 6466207"/>
              <a:gd name="connsiteY3" fmla="*/ 2260600 h 2260600"/>
              <a:gd name="connsiteX4" fmla="*/ 6532 w 6466207"/>
              <a:gd name="connsiteY4" fmla="*/ 0 h 2260600"/>
              <a:gd name="connsiteX0" fmla="*/ 6532 w 6466207"/>
              <a:gd name="connsiteY0" fmla="*/ 0 h 2260600"/>
              <a:gd name="connsiteX1" fmla="*/ 6466207 w 6466207"/>
              <a:gd name="connsiteY1" fmla="*/ 0 h 2260600"/>
              <a:gd name="connsiteX2" fmla="*/ 5630286 w 6466207"/>
              <a:gd name="connsiteY2" fmla="*/ 2260600 h 2260600"/>
              <a:gd name="connsiteX3" fmla="*/ 0 w 6466207"/>
              <a:gd name="connsiteY3" fmla="*/ 2260600 h 2260600"/>
              <a:gd name="connsiteX4" fmla="*/ 6532 w 6466207"/>
              <a:gd name="connsiteY4" fmla="*/ 0 h 2260600"/>
              <a:gd name="connsiteX0" fmla="*/ 6532 w 6469363"/>
              <a:gd name="connsiteY0" fmla="*/ 0 h 2260600"/>
              <a:gd name="connsiteX1" fmla="*/ 6469363 w 6469363"/>
              <a:gd name="connsiteY1" fmla="*/ 0 h 2260600"/>
              <a:gd name="connsiteX2" fmla="*/ 5630286 w 6469363"/>
              <a:gd name="connsiteY2" fmla="*/ 2260600 h 2260600"/>
              <a:gd name="connsiteX3" fmla="*/ 0 w 6469363"/>
              <a:gd name="connsiteY3" fmla="*/ 2260600 h 2260600"/>
              <a:gd name="connsiteX4" fmla="*/ 6532 w 6469363"/>
              <a:gd name="connsiteY4" fmla="*/ 0 h 2260600"/>
              <a:gd name="connsiteX0" fmla="*/ 6532 w 6472515"/>
              <a:gd name="connsiteY0" fmla="*/ 0 h 2260600"/>
              <a:gd name="connsiteX1" fmla="*/ 6472515 w 6472515"/>
              <a:gd name="connsiteY1" fmla="*/ 3230 h 2260600"/>
              <a:gd name="connsiteX2" fmla="*/ 5630286 w 6472515"/>
              <a:gd name="connsiteY2" fmla="*/ 2260600 h 2260600"/>
              <a:gd name="connsiteX3" fmla="*/ 0 w 6472515"/>
              <a:gd name="connsiteY3" fmla="*/ 2260600 h 2260600"/>
              <a:gd name="connsiteX4" fmla="*/ 6532 w 6472515"/>
              <a:gd name="connsiteY4" fmla="*/ 0 h 2260600"/>
              <a:gd name="connsiteX0" fmla="*/ 6532 w 6472515"/>
              <a:gd name="connsiteY0" fmla="*/ 0 h 2260600"/>
              <a:gd name="connsiteX1" fmla="*/ 6472515 w 6472515"/>
              <a:gd name="connsiteY1" fmla="*/ 3230 h 2260600"/>
              <a:gd name="connsiteX2" fmla="*/ 5636590 w 6472515"/>
              <a:gd name="connsiteY2" fmla="*/ 2260600 h 2260600"/>
              <a:gd name="connsiteX3" fmla="*/ 0 w 6472515"/>
              <a:gd name="connsiteY3" fmla="*/ 2260600 h 2260600"/>
              <a:gd name="connsiteX4" fmla="*/ 6532 w 6472515"/>
              <a:gd name="connsiteY4" fmla="*/ 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2515" h="2260600">
                <a:moveTo>
                  <a:pt x="6532" y="0"/>
                </a:moveTo>
                <a:lnTo>
                  <a:pt x="6472515" y="3230"/>
                </a:lnTo>
                <a:lnTo>
                  <a:pt x="5636590" y="2260600"/>
                </a:lnTo>
                <a:lnTo>
                  <a:pt x="0" y="2260600"/>
                </a:lnTo>
                <a:cubicBezTo>
                  <a:pt x="2177" y="1507067"/>
                  <a:pt x="4355" y="753533"/>
                  <a:pt x="6532" y="0"/>
                </a:cubicBez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79D79FF3-C201-BE46-AA7C-16C20AECF1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7862" y="4636008"/>
            <a:ext cx="5637137" cy="2221992"/>
          </a:xfrm>
          <a:custGeom>
            <a:avLst/>
            <a:gdLst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742632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426326"/>
              <a:gd name="connsiteY0" fmla="*/ 0 h 2260600"/>
              <a:gd name="connsiteX1" fmla="*/ 7426326 w 7426326"/>
              <a:gd name="connsiteY1" fmla="*/ 0 h 2260600"/>
              <a:gd name="connsiteX2" fmla="*/ 6557646 w 7426326"/>
              <a:gd name="connsiteY2" fmla="*/ 2260600 h 2260600"/>
              <a:gd name="connsiteX3" fmla="*/ 0 w 7426326"/>
              <a:gd name="connsiteY3" fmla="*/ 2260600 h 2260600"/>
              <a:gd name="connsiteX4" fmla="*/ 0 w 742632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557646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0 w 7289166"/>
              <a:gd name="connsiteY0" fmla="*/ 0 h 2260600"/>
              <a:gd name="connsiteX1" fmla="*/ 7289166 w 7289166"/>
              <a:gd name="connsiteY1" fmla="*/ 0 h 2260600"/>
              <a:gd name="connsiteX2" fmla="*/ 6453143 w 7289166"/>
              <a:gd name="connsiteY2" fmla="*/ 2260600 h 2260600"/>
              <a:gd name="connsiteX3" fmla="*/ 0 w 7289166"/>
              <a:gd name="connsiteY3" fmla="*/ 2260600 h 2260600"/>
              <a:gd name="connsiteX4" fmla="*/ 0 w 7289166"/>
              <a:gd name="connsiteY4" fmla="*/ 0 h 2260600"/>
              <a:gd name="connsiteX0" fmla="*/ 1704703 w 7289166"/>
              <a:gd name="connsiteY0" fmla="*/ 0 h 2260600"/>
              <a:gd name="connsiteX1" fmla="*/ 7289166 w 7289166"/>
              <a:gd name="connsiteY1" fmla="*/ 0 h 2260600"/>
              <a:gd name="connsiteX2" fmla="*/ 6453143 w 7289166"/>
              <a:gd name="connsiteY2" fmla="*/ 2260600 h 2260600"/>
              <a:gd name="connsiteX3" fmla="*/ 0 w 7289166"/>
              <a:gd name="connsiteY3" fmla="*/ 2260600 h 2260600"/>
              <a:gd name="connsiteX4" fmla="*/ 1704703 w 7289166"/>
              <a:gd name="connsiteY4" fmla="*/ 0 h 2260600"/>
              <a:gd name="connsiteX0" fmla="*/ 0 w 5584463"/>
              <a:gd name="connsiteY0" fmla="*/ 0 h 2260600"/>
              <a:gd name="connsiteX1" fmla="*/ 5584463 w 5584463"/>
              <a:gd name="connsiteY1" fmla="*/ 0 h 2260600"/>
              <a:gd name="connsiteX2" fmla="*/ 4748440 w 5584463"/>
              <a:gd name="connsiteY2" fmla="*/ 2260600 h 2260600"/>
              <a:gd name="connsiteX3" fmla="*/ 6531 w 5584463"/>
              <a:gd name="connsiteY3" fmla="*/ 2260600 h 2260600"/>
              <a:gd name="connsiteX4" fmla="*/ 0 w 5584463"/>
              <a:gd name="connsiteY4" fmla="*/ 0 h 2260600"/>
              <a:gd name="connsiteX0" fmla="*/ 0 w 5597087"/>
              <a:gd name="connsiteY0" fmla="*/ 0 h 2260600"/>
              <a:gd name="connsiteX1" fmla="*/ 5597087 w 5597087"/>
              <a:gd name="connsiteY1" fmla="*/ 0 h 2260600"/>
              <a:gd name="connsiteX2" fmla="*/ 4748440 w 5597087"/>
              <a:gd name="connsiteY2" fmla="*/ 2260600 h 2260600"/>
              <a:gd name="connsiteX3" fmla="*/ 6531 w 5597087"/>
              <a:gd name="connsiteY3" fmla="*/ 2260600 h 2260600"/>
              <a:gd name="connsiteX4" fmla="*/ 0 w 5597087"/>
              <a:gd name="connsiteY4" fmla="*/ 0 h 2260600"/>
              <a:gd name="connsiteX0" fmla="*/ 0 w 5597087"/>
              <a:gd name="connsiteY0" fmla="*/ 0 h 2260600"/>
              <a:gd name="connsiteX1" fmla="*/ 5597087 w 5597087"/>
              <a:gd name="connsiteY1" fmla="*/ 0 h 2260600"/>
              <a:gd name="connsiteX2" fmla="*/ 4754752 w 5597087"/>
              <a:gd name="connsiteY2" fmla="*/ 2260600 h 2260600"/>
              <a:gd name="connsiteX3" fmla="*/ 6531 w 5597087"/>
              <a:gd name="connsiteY3" fmla="*/ 2260600 h 2260600"/>
              <a:gd name="connsiteX4" fmla="*/ 0 w 5597087"/>
              <a:gd name="connsiteY4" fmla="*/ 0 h 2260600"/>
              <a:gd name="connsiteX0" fmla="*/ 0 w 5533969"/>
              <a:gd name="connsiteY0" fmla="*/ 0 h 2260600"/>
              <a:gd name="connsiteX1" fmla="*/ 5533969 w 5533969"/>
              <a:gd name="connsiteY1" fmla="*/ 0 h 2260600"/>
              <a:gd name="connsiteX2" fmla="*/ 4754752 w 5533969"/>
              <a:gd name="connsiteY2" fmla="*/ 2260600 h 2260600"/>
              <a:gd name="connsiteX3" fmla="*/ 6531 w 5533969"/>
              <a:gd name="connsiteY3" fmla="*/ 2260600 h 2260600"/>
              <a:gd name="connsiteX4" fmla="*/ 0 w 5533969"/>
              <a:gd name="connsiteY4" fmla="*/ 0 h 2260600"/>
              <a:gd name="connsiteX0" fmla="*/ 0 w 5593931"/>
              <a:gd name="connsiteY0" fmla="*/ 0 h 2260600"/>
              <a:gd name="connsiteX1" fmla="*/ 5593931 w 5593931"/>
              <a:gd name="connsiteY1" fmla="*/ 0 h 2260600"/>
              <a:gd name="connsiteX2" fmla="*/ 4754752 w 5593931"/>
              <a:gd name="connsiteY2" fmla="*/ 2260600 h 2260600"/>
              <a:gd name="connsiteX3" fmla="*/ 6531 w 5593931"/>
              <a:gd name="connsiteY3" fmla="*/ 2260600 h 2260600"/>
              <a:gd name="connsiteX4" fmla="*/ 0 w 5593931"/>
              <a:gd name="connsiteY4" fmla="*/ 0 h 2260600"/>
              <a:gd name="connsiteX0" fmla="*/ 0 w 5583260"/>
              <a:gd name="connsiteY0" fmla="*/ 0 h 2260600"/>
              <a:gd name="connsiteX1" fmla="*/ 5583260 w 5583260"/>
              <a:gd name="connsiteY1" fmla="*/ 0 h 2260600"/>
              <a:gd name="connsiteX2" fmla="*/ 4754752 w 5583260"/>
              <a:gd name="connsiteY2" fmla="*/ 2260600 h 2260600"/>
              <a:gd name="connsiteX3" fmla="*/ 6531 w 5583260"/>
              <a:gd name="connsiteY3" fmla="*/ 2260600 h 2260600"/>
              <a:gd name="connsiteX4" fmla="*/ 0 w 5583260"/>
              <a:gd name="connsiteY4" fmla="*/ 0 h 2260600"/>
              <a:gd name="connsiteX0" fmla="*/ 0 w 5586406"/>
              <a:gd name="connsiteY0" fmla="*/ 0 h 2260600"/>
              <a:gd name="connsiteX1" fmla="*/ 5586406 w 5586406"/>
              <a:gd name="connsiteY1" fmla="*/ 0 h 2260600"/>
              <a:gd name="connsiteX2" fmla="*/ 4754752 w 5586406"/>
              <a:gd name="connsiteY2" fmla="*/ 2260600 h 2260600"/>
              <a:gd name="connsiteX3" fmla="*/ 6531 w 5586406"/>
              <a:gd name="connsiteY3" fmla="*/ 2260600 h 2260600"/>
              <a:gd name="connsiteX4" fmla="*/ 0 w 5586406"/>
              <a:gd name="connsiteY4" fmla="*/ 0 h 2260600"/>
              <a:gd name="connsiteX0" fmla="*/ 0 w 5586406"/>
              <a:gd name="connsiteY0" fmla="*/ 0 h 2260600"/>
              <a:gd name="connsiteX1" fmla="*/ 5586406 w 5586406"/>
              <a:gd name="connsiteY1" fmla="*/ 0 h 2260600"/>
              <a:gd name="connsiteX2" fmla="*/ 4757899 w 5586406"/>
              <a:gd name="connsiteY2" fmla="*/ 2260600 h 2260600"/>
              <a:gd name="connsiteX3" fmla="*/ 6531 w 5586406"/>
              <a:gd name="connsiteY3" fmla="*/ 2260600 h 2260600"/>
              <a:gd name="connsiteX4" fmla="*/ 0 w 5586406"/>
              <a:gd name="connsiteY4" fmla="*/ 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86406" h="2260600">
                <a:moveTo>
                  <a:pt x="0" y="0"/>
                </a:moveTo>
                <a:lnTo>
                  <a:pt x="5586406" y="0"/>
                </a:lnTo>
                <a:lnTo>
                  <a:pt x="4757899" y="2260600"/>
                </a:lnTo>
                <a:lnTo>
                  <a:pt x="6531" y="22606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398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5">
            <a:extLst>
              <a:ext uri="{FF2B5EF4-FFF2-40B4-BE49-F238E27FC236}">
                <a16:creationId xmlns:a16="http://schemas.microsoft.com/office/drawing/2014/main" id="{F19A0AF7-41C6-7345-978F-241AE4527773}"/>
              </a:ext>
            </a:extLst>
          </p:cNvPr>
          <p:cNvSpPr/>
          <p:nvPr userDrawn="1"/>
        </p:nvSpPr>
        <p:spPr>
          <a:xfrm>
            <a:off x="-1" y="239165"/>
            <a:ext cx="12192001" cy="612650"/>
          </a:xfrm>
          <a:custGeom>
            <a:avLst/>
            <a:gdLst>
              <a:gd name="connsiteX0" fmla="*/ 0 w 12191999"/>
              <a:gd name="connsiteY0" fmla="*/ 0 h 603858"/>
              <a:gd name="connsiteX1" fmla="*/ 12191999 w 12191999"/>
              <a:gd name="connsiteY1" fmla="*/ 0 h 603858"/>
              <a:gd name="connsiteX2" fmla="*/ 12191999 w 12191999"/>
              <a:gd name="connsiteY2" fmla="*/ 603858 h 603858"/>
              <a:gd name="connsiteX3" fmla="*/ 0 w 12191999"/>
              <a:gd name="connsiteY3" fmla="*/ 603858 h 603858"/>
              <a:gd name="connsiteX4" fmla="*/ 0 w 12191999"/>
              <a:gd name="connsiteY4" fmla="*/ 0 h 603858"/>
              <a:gd name="connsiteX0" fmla="*/ 0 w 12191999"/>
              <a:gd name="connsiteY0" fmla="*/ 0 h 612650"/>
              <a:gd name="connsiteX1" fmla="*/ 12191999 w 12191999"/>
              <a:gd name="connsiteY1" fmla="*/ 0 h 612650"/>
              <a:gd name="connsiteX2" fmla="*/ 9527929 w 12191999"/>
              <a:gd name="connsiteY2" fmla="*/ 612650 h 612650"/>
              <a:gd name="connsiteX3" fmla="*/ 0 w 12191999"/>
              <a:gd name="connsiteY3" fmla="*/ 603858 h 612650"/>
              <a:gd name="connsiteX4" fmla="*/ 0 w 12191999"/>
              <a:gd name="connsiteY4" fmla="*/ 0 h 612650"/>
              <a:gd name="connsiteX0" fmla="*/ 0 w 9809283"/>
              <a:gd name="connsiteY0" fmla="*/ 0 h 612650"/>
              <a:gd name="connsiteX1" fmla="*/ 9809283 w 9809283"/>
              <a:gd name="connsiteY1" fmla="*/ 0 h 612650"/>
              <a:gd name="connsiteX2" fmla="*/ 9527929 w 9809283"/>
              <a:gd name="connsiteY2" fmla="*/ 612650 h 612650"/>
              <a:gd name="connsiteX3" fmla="*/ 0 w 9809283"/>
              <a:gd name="connsiteY3" fmla="*/ 603858 h 612650"/>
              <a:gd name="connsiteX4" fmla="*/ 0 w 9809283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279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31104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12222052"/>
              <a:gd name="connsiteY0" fmla="*/ 0 h 612650"/>
              <a:gd name="connsiteX1" fmla="*/ 9768008 w 12222052"/>
              <a:gd name="connsiteY1" fmla="*/ 0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222052"/>
              <a:gd name="connsiteY0" fmla="*/ 0 h 612650"/>
              <a:gd name="connsiteX1" fmla="*/ 12197700 w 12222052"/>
              <a:gd name="connsiteY1" fmla="*/ 13063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199827"/>
              <a:gd name="connsiteY0" fmla="*/ 0 h 612650"/>
              <a:gd name="connsiteX1" fmla="*/ 12197700 w 12199827"/>
              <a:gd name="connsiteY1" fmla="*/ 13063 h 612650"/>
              <a:gd name="connsiteX2" fmla="*/ 12199827 w 12199827"/>
              <a:gd name="connsiteY2" fmla="*/ 612650 h 612650"/>
              <a:gd name="connsiteX3" fmla="*/ 0 w 12199827"/>
              <a:gd name="connsiteY3" fmla="*/ 603858 h 612650"/>
              <a:gd name="connsiteX4" fmla="*/ 0 w 12199827"/>
              <a:gd name="connsiteY4" fmla="*/ 0 h 61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827" h="612650">
                <a:moveTo>
                  <a:pt x="0" y="0"/>
                </a:moveTo>
                <a:lnTo>
                  <a:pt x="12197700" y="13063"/>
                </a:lnTo>
                <a:lnTo>
                  <a:pt x="12199827" y="612650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38293-9C83-F942-A263-5D92E58300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7217" y="1084468"/>
            <a:ext cx="5487312" cy="5214731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4F7143E1-1581-7C4E-B4C3-C6B8993F1A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7471" y="1084468"/>
            <a:ext cx="5476350" cy="5214731"/>
          </a:xfrm>
        </p:spPr>
        <p:txBody>
          <a:bodyPr>
            <a:normAutofit/>
          </a:bodyPr>
          <a:lstStyle>
            <a:lvl1pPr marL="0" indent="0"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C667EC8-F2AB-8E40-A5EE-E7DC1039E3EA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85C054-A323-0A4C-BCEB-8E687C483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A42666FB-C195-AC49-84FB-27978332B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31EF8758-D960-D14A-8AC4-BDF679369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094" y="284745"/>
            <a:ext cx="11256435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54D4A656-F321-474D-AE60-5D1C46B6E3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4277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Page - Text +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5">
            <a:extLst>
              <a:ext uri="{FF2B5EF4-FFF2-40B4-BE49-F238E27FC236}">
                <a16:creationId xmlns:a16="http://schemas.microsoft.com/office/drawing/2014/main" id="{F19A0AF7-41C6-7345-978F-241AE4527773}"/>
              </a:ext>
            </a:extLst>
          </p:cNvPr>
          <p:cNvSpPr/>
          <p:nvPr userDrawn="1"/>
        </p:nvSpPr>
        <p:spPr>
          <a:xfrm>
            <a:off x="-1" y="239165"/>
            <a:ext cx="12192001" cy="612650"/>
          </a:xfrm>
          <a:custGeom>
            <a:avLst/>
            <a:gdLst>
              <a:gd name="connsiteX0" fmla="*/ 0 w 12191999"/>
              <a:gd name="connsiteY0" fmla="*/ 0 h 603858"/>
              <a:gd name="connsiteX1" fmla="*/ 12191999 w 12191999"/>
              <a:gd name="connsiteY1" fmla="*/ 0 h 603858"/>
              <a:gd name="connsiteX2" fmla="*/ 12191999 w 12191999"/>
              <a:gd name="connsiteY2" fmla="*/ 603858 h 603858"/>
              <a:gd name="connsiteX3" fmla="*/ 0 w 12191999"/>
              <a:gd name="connsiteY3" fmla="*/ 603858 h 603858"/>
              <a:gd name="connsiteX4" fmla="*/ 0 w 12191999"/>
              <a:gd name="connsiteY4" fmla="*/ 0 h 603858"/>
              <a:gd name="connsiteX0" fmla="*/ 0 w 12191999"/>
              <a:gd name="connsiteY0" fmla="*/ 0 h 612650"/>
              <a:gd name="connsiteX1" fmla="*/ 12191999 w 12191999"/>
              <a:gd name="connsiteY1" fmla="*/ 0 h 612650"/>
              <a:gd name="connsiteX2" fmla="*/ 9527929 w 12191999"/>
              <a:gd name="connsiteY2" fmla="*/ 612650 h 612650"/>
              <a:gd name="connsiteX3" fmla="*/ 0 w 12191999"/>
              <a:gd name="connsiteY3" fmla="*/ 603858 h 612650"/>
              <a:gd name="connsiteX4" fmla="*/ 0 w 12191999"/>
              <a:gd name="connsiteY4" fmla="*/ 0 h 612650"/>
              <a:gd name="connsiteX0" fmla="*/ 0 w 9809283"/>
              <a:gd name="connsiteY0" fmla="*/ 0 h 612650"/>
              <a:gd name="connsiteX1" fmla="*/ 9809283 w 9809283"/>
              <a:gd name="connsiteY1" fmla="*/ 0 h 612650"/>
              <a:gd name="connsiteX2" fmla="*/ 9527929 w 9809283"/>
              <a:gd name="connsiteY2" fmla="*/ 612650 h 612650"/>
              <a:gd name="connsiteX3" fmla="*/ 0 w 9809283"/>
              <a:gd name="connsiteY3" fmla="*/ 603858 h 612650"/>
              <a:gd name="connsiteX4" fmla="*/ 0 w 9809283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279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31104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12222052"/>
              <a:gd name="connsiteY0" fmla="*/ 0 h 612650"/>
              <a:gd name="connsiteX1" fmla="*/ 9768008 w 12222052"/>
              <a:gd name="connsiteY1" fmla="*/ 0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222052"/>
              <a:gd name="connsiteY0" fmla="*/ 0 h 612650"/>
              <a:gd name="connsiteX1" fmla="*/ 12197700 w 12222052"/>
              <a:gd name="connsiteY1" fmla="*/ 13063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199827"/>
              <a:gd name="connsiteY0" fmla="*/ 0 h 612650"/>
              <a:gd name="connsiteX1" fmla="*/ 12197700 w 12199827"/>
              <a:gd name="connsiteY1" fmla="*/ 13063 h 612650"/>
              <a:gd name="connsiteX2" fmla="*/ 12199827 w 12199827"/>
              <a:gd name="connsiteY2" fmla="*/ 612650 h 612650"/>
              <a:gd name="connsiteX3" fmla="*/ 0 w 12199827"/>
              <a:gd name="connsiteY3" fmla="*/ 603858 h 612650"/>
              <a:gd name="connsiteX4" fmla="*/ 0 w 12199827"/>
              <a:gd name="connsiteY4" fmla="*/ 0 h 61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827" h="612650">
                <a:moveTo>
                  <a:pt x="0" y="0"/>
                </a:moveTo>
                <a:lnTo>
                  <a:pt x="12197700" y="13063"/>
                </a:lnTo>
                <a:lnTo>
                  <a:pt x="12199827" y="612650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C667EC8-F2AB-8E40-A5EE-E7DC1039E3EA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85C054-A323-0A4C-BCEB-8E687C483A8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 descr="Shape&#10;&#10;Description automatically generated with medium confidence">
            <a:extLst>
              <a:ext uri="{FF2B5EF4-FFF2-40B4-BE49-F238E27FC236}">
                <a16:creationId xmlns:a16="http://schemas.microsoft.com/office/drawing/2014/main" id="{A42666FB-C195-AC49-84FB-27978332B1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31EF8758-D960-D14A-8AC4-BDF6793690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094" y="284745"/>
            <a:ext cx="11256435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54D4A656-F321-474D-AE60-5D1C46B6E3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93492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N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990B00-5B34-074F-9F52-B6FA8DED159E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FFA6A5-E666-0B46-B886-9FD1455173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A close up of a sign&#10;&#10;Description automatically generated">
            <a:extLst>
              <a:ext uri="{FF2B5EF4-FFF2-40B4-BE49-F238E27FC236}">
                <a16:creationId xmlns:a16="http://schemas.microsoft.com/office/drawing/2014/main" id="{CDB38424-9AEA-BC44-834B-57773D0F4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60626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Just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4009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383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Page -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>
            <a:extLst>
              <a:ext uri="{FF2B5EF4-FFF2-40B4-BE49-F238E27FC236}">
                <a16:creationId xmlns:a16="http://schemas.microsoft.com/office/drawing/2014/main" id="{535BFC4F-B469-FB47-9CAD-E8C1B74E9E0D}"/>
              </a:ext>
            </a:extLst>
          </p:cNvPr>
          <p:cNvSpPr/>
          <p:nvPr userDrawn="1"/>
        </p:nvSpPr>
        <p:spPr>
          <a:xfrm>
            <a:off x="0" y="0"/>
            <a:ext cx="7504288" cy="6860758"/>
          </a:xfrm>
          <a:custGeom>
            <a:avLst/>
            <a:gdLst>
              <a:gd name="connsiteX0" fmla="*/ 0 w 7504288"/>
              <a:gd name="connsiteY0" fmla="*/ 0 h 6858000"/>
              <a:gd name="connsiteX1" fmla="*/ 7504288 w 7504288"/>
              <a:gd name="connsiteY1" fmla="*/ 0 h 6858000"/>
              <a:gd name="connsiteX2" fmla="*/ 7504288 w 7504288"/>
              <a:gd name="connsiteY2" fmla="*/ 6858000 h 6858000"/>
              <a:gd name="connsiteX3" fmla="*/ 0 w 7504288"/>
              <a:gd name="connsiteY3" fmla="*/ 6858000 h 6858000"/>
              <a:gd name="connsiteX4" fmla="*/ 0 w 7504288"/>
              <a:gd name="connsiteY4" fmla="*/ 0 h 6858000"/>
              <a:gd name="connsiteX0" fmla="*/ 0 w 7504288"/>
              <a:gd name="connsiteY0" fmla="*/ 0 h 6858000"/>
              <a:gd name="connsiteX1" fmla="*/ 7504288 w 7504288"/>
              <a:gd name="connsiteY1" fmla="*/ 0 h 6858000"/>
              <a:gd name="connsiteX2" fmla="*/ 5094242 w 7504288"/>
              <a:gd name="connsiteY2" fmla="*/ 6843824 h 6858000"/>
              <a:gd name="connsiteX3" fmla="*/ 0 w 7504288"/>
              <a:gd name="connsiteY3" fmla="*/ 6858000 h 6858000"/>
              <a:gd name="connsiteX4" fmla="*/ 0 w 7504288"/>
              <a:gd name="connsiteY4" fmla="*/ 0 h 6858000"/>
              <a:gd name="connsiteX0" fmla="*/ 0 w 7504288"/>
              <a:gd name="connsiteY0" fmla="*/ 0 h 6860758"/>
              <a:gd name="connsiteX1" fmla="*/ 7504288 w 7504288"/>
              <a:gd name="connsiteY1" fmla="*/ 0 h 6860758"/>
              <a:gd name="connsiteX2" fmla="*/ 4986998 w 7504288"/>
              <a:gd name="connsiteY2" fmla="*/ 6860758 h 6860758"/>
              <a:gd name="connsiteX3" fmla="*/ 0 w 7504288"/>
              <a:gd name="connsiteY3" fmla="*/ 6858000 h 6860758"/>
              <a:gd name="connsiteX4" fmla="*/ 0 w 7504288"/>
              <a:gd name="connsiteY4" fmla="*/ 0 h 6860758"/>
              <a:gd name="connsiteX0" fmla="*/ 0 w 7504288"/>
              <a:gd name="connsiteY0" fmla="*/ 0 h 6860758"/>
              <a:gd name="connsiteX1" fmla="*/ 7504288 w 7504288"/>
              <a:gd name="connsiteY1" fmla="*/ 0 h 6860758"/>
              <a:gd name="connsiteX2" fmla="*/ 4901937 w 7504288"/>
              <a:gd name="connsiteY2" fmla="*/ 6860758 h 6860758"/>
              <a:gd name="connsiteX3" fmla="*/ 0 w 7504288"/>
              <a:gd name="connsiteY3" fmla="*/ 6858000 h 6860758"/>
              <a:gd name="connsiteX4" fmla="*/ 0 w 7504288"/>
              <a:gd name="connsiteY4" fmla="*/ 0 h 6860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504288" h="6860758">
                <a:moveTo>
                  <a:pt x="0" y="0"/>
                </a:moveTo>
                <a:lnTo>
                  <a:pt x="7504288" y="0"/>
                </a:lnTo>
                <a:lnTo>
                  <a:pt x="4901937" y="6860758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7F8B516-5577-F440-8D13-27DA6F76B7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372350" cy="5620679"/>
          </a:xfrm>
          <a:custGeom>
            <a:avLst/>
            <a:gdLst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737235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15369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01901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4919773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99271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78006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85094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85094 w 7372350"/>
              <a:gd name="connsiteY2" fmla="*/ 6865088 h 6865088"/>
              <a:gd name="connsiteX3" fmla="*/ 0 w 7372350"/>
              <a:gd name="connsiteY3" fmla="*/ 5620466 h 6865088"/>
              <a:gd name="connsiteX4" fmla="*/ 0 w 7372350"/>
              <a:gd name="connsiteY4" fmla="*/ 0 h 6865088"/>
              <a:gd name="connsiteX0" fmla="*/ 0 w 7372350"/>
              <a:gd name="connsiteY0" fmla="*/ 0 h 5620466"/>
              <a:gd name="connsiteX1" fmla="*/ 7372350 w 7372350"/>
              <a:gd name="connsiteY1" fmla="*/ 0 h 5620466"/>
              <a:gd name="connsiteX2" fmla="*/ 5245732 w 7372350"/>
              <a:gd name="connsiteY2" fmla="*/ 5613804 h 5620466"/>
              <a:gd name="connsiteX3" fmla="*/ 0 w 7372350"/>
              <a:gd name="connsiteY3" fmla="*/ 5620466 h 5620466"/>
              <a:gd name="connsiteX4" fmla="*/ 0 w 7372350"/>
              <a:gd name="connsiteY4" fmla="*/ 0 h 5620466"/>
              <a:gd name="connsiteX0" fmla="*/ 0 w 7372350"/>
              <a:gd name="connsiteY0" fmla="*/ 0 h 5620466"/>
              <a:gd name="connsiteX1" fmla="*/ 7372350 w 7372350"/>
              <a:gd name="connsiteY1" fmla="*/ 0 h 5620466"/>
              <a:gd name="connsiteX2" fmla="*/ 5245732 w 7372350"/>
              <a:gd name="connsiteY2" fmla="*/ 5613804 h 5620466"/>
              <a:gd name="connsiteX3" fmla="*/ 0 w 7372350"/>
              <a:gd name="connsiteY3" fmla="*/ 5620466 h 5620466"/>
              <a:gd name="connsiteX4" fmla="*/ 0 w 7372350"/>
              <a:gd name="connsiteY4" fmla="*/ 0 h 5620466"/>
              <a:gd name="connsiteX0" fmla="*/ 0 w 7372350"/>
              <a:gd name="connsiteY0" fmla="*/ 0 h 5620679"/>
              <a:gd name="connsiteX1" fmla="*/ 7372350 w 7372350"/>
              <a:gd name="connsiteY1" fmla="*/ 0 h 5620679"/>
              <a:gd name="connsiteX2" fmla="*/ 5238857 w 7372350"/>
              <a:gd name="connsiteY2" fmla="*/ 5620679 h 5620679"/>
              <a:gd name="connsiteX3" fmla="*/ 0 w 7372350"/>
              <a:gd name="connsiteY3" fmla="*/ 5620466 h 5620679"/>
              <a:gd name="connsiteX4" fmla="*/ 0 w 7372350"/>
              <a:gd name="connsiteY4" fmla="*/ 0 h 5620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2350" h="5620679">
                <a:moveTo>
                  <a:pt x="0" y="0"/>
                </a:moveTo>
                <a:lnTo>
                  <a:pt x="7372350" y="0"/>
                </a:lnTo>
                <a:lnTo>
                  <a:pt x="5238857" y="5620679"/>
                </a:lnTo>
                <a:lnTo>
                  <a:pt x="0" y="5620466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anchor="ctr">
            <a:normAutofit/>
          </a:bodyPr>
          <a:lstStyle>
            <a:lvl1pPr algn="ctr">
              <a:defRPr sz="1600"/>
            </a:lvl1pPr>
          </a:lstStyle>
          <a:p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BD06279-8269-3248-85B0-0B1C65D2DA2E}"/>
              </a:ext>
            </a:extLst>
          </p:cNvPr>
          <p:cNvSpPr/>
          <p:nvPr userDrawn="1"/>
        </p:nvSpPr>
        <p:spPr>
          <a:xfrm>
            <a:off x="0" y="5619651"/>
            <a:ext cx="12192000" cy="1253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08819A74-BA45-304C-AD2F-4832532F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8245" y="2263698"/>
            <a:ext cx="3383274" cy="6167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C8141F-AD2E-8A4E-BA13-B6E6E5CD7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0" y="5603240"/>
            <a:ext cx="12179300" cy="1244600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27D432B-9419-114A-98F7-6A8653E9ED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77776" y="3184485"/>
            <a:ext cx="6028194" cy="1244600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8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inal Copy Here</a:t>
            </a:r>
          </a:p>
        </p:txBody>
      </p:sp>
    </p:spTree>
    <p:extLst>
      <p:ext uri="{BB962C8B-B14F-4D97-AF65-F5344CB8AC3E}">
        <p14:creationId xmlns:p14="http://schemas.microsoft.com/office/powerpoint/2010/main" val="22141201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Page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6BD06279-8269-3248-85B0-0B1C65D2DA2E}"/>
              </a:ext>
            </a:extLst>
          </p:cNvPr>
          <p:cNvSpPr/>
          <p:nvPr userDrawn="1"/>
        </p:nvSpPr>
        <p:spPr>
          <a:xfrm>
            <a:off x="0" y="5619651"/>
            <a:ext cx="12192000" cy="12531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9AFBA8FB-2A54-3C4A-80CB-8B6B19405E7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1650" y="3147647"/>
            <a:ext cx="7148701" cy="1244600"/>
          </a:xfrm>
        </p:spPr>
        <p:txBody>
          <a:bodyPr anchor="t">
            <a:noAutofit/>
          </a:bodyPr>
          <a:lstStyle>
            <a:lvl1pPr marL="0" indent="0" algn="ctr">
              <a:lnSpc>
                <a:spcPct val="100000"/>
              </a:lnSpc>
              <a:buNone/>
              <a:defRPr sz="28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inal Copy Here</a:t>
            </a:r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08819A74-BA45-304C-AD2F-4832532F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0881" y="2018371"/>
            <a:ext cx="4790238" cy="8732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5C8141F-AD2E-8A4E-BA13-B6E6E5CD7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0" y="5603240"/>
            <a:ext cx="12179300" cy="124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5083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76442-1C23-0147-978D-097DC2E04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8381" y="6553200"/>
            <a:ext cx="458819" cy="228600"/>
          </a:xfrm>
        </p:spPr>
        <p:txBody>
          <a:bodyPr/>
          <a:lstStyle/>
          <a:p>
            <a:fld id="{FEAB914C-A0E9-CC43-BFC2-EC000503ECAA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BEC7699-9BC8-9148-A3CD-CB5F9514C9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6440006"/>
            <a:ext cx="261391" cy="293698"/>
          </a:xfrm>
          <a:prstGeom prst="rect">
            <a:avLst/>
          </a:prstGeom>
        </p:spPr>
      </p:pic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33333918-2711-3E4E-BA72-60265AF673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.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414746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EC4E3B6-D6D6-334F-8A7B-9A86A6602EB8}"/>
              </a:ext>
            </a:extLst>
          </p:cNvPr>
          <p:cNvGrpSpPr/>
          <p:nvPr userDrawn="1"/>
        </p:nvGrpSpPr>
        <p:grpSpPr>
          <a:xfrm>
            <a:off x="0" y="0"/>
            <a:ext cx="7504288" cy="6858000"/>
            <a:chOff x="0" y="0"/>
            <a:chExt cx="7504288" cy="6858000"/>
          </a:xfrm>
        </p:grpSpPr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9063A67D-7B7F-DD4B-AE28-D2ED11B6FCE3}"/>
                </a:ext>
              </a:extLst>
            </p:cNvPr>
            <p:cNvSpPr/>
            <p:nvPr userDrawn="1"/>
          </p:nvSpPr>
          <p:spPr>
            <a:xfrm>
              <a:off x="38320" y="539729"/>
              <a:ext cx="7372350" cy="6318271"/>
            </a:xfrm>
            <a:custGeom>
              <a:avLst/>
              <a:gdLst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7504288 w 7504288"/>
                <a:gd name="connsiteY2" fmla="*/ 6858000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5094242 w 7504288"/>
                <a:gd name="connsiteY2" fmla="*/ 6843824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86998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89378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89378 w 7504288"/>
                <a:gd name="connsiteY4" fmla="*/ 0 h 6860758"/>
                <a:gd name="connsiteX0" fmla="*/ 0 w 7414910"/>
                <a:gd name="connsiteY0" fmla="*/ 0 h 6860758"/>
                <a:gd name="connsiteX1" fmla="*/ 7414910 w 7414910"/>
                <a:gd name="connsiteY1" fmla="*/ 0 h 6860758"/>
                <a:gd name="connsiteX2" fmla="*/ 4812559 w 7414910"/>
                <a:gd name="connsiteY2" fmla="*/ 6860758 h 6860758"/>
                <a:gd name="connsiteX3" fmla="*/ 6875 w 7414910"/>
                <a:gd name="connsiteY3" fmla="*/ 6342361 h 6860758"/>
                <a:gd name="connsiteX4" fmla="*/ 0 w 7414910"/>
                <a:gd name="connsiteY4" fmla="*/ 0 h 6860758"/>
                <a:gd name="connsiteX0" fmla="*/ 0 w 7414910"/>
                <a:gd name="connsiteY0" fmla="*/ 0 h 6342361"/>
                <a:gd name="connsiteX1" fmla="*/ 7414910 w 7414910"/>
                <a:gd name="connsiteY1" fmla="*/ 0 h 6342361"/>
                <a:gd name="connsiteX2" fmla="*/ 5011940 w 7414910"/>
                <a:gd name="connsiteY2" fmla="*/ 6324493 h 6342361"/>
                <a:gd name="connsiteX3" fmla="*/ 6875 w 7414910"/>
                <a:gd name="connsiteY3" fmla="*/ 6342361 h 6342361"/>
                <a:gd name="connsiteX4" fmla="*/ 0 w 7414910"/>
                <a:gd name="connsiteY4" fmla="*/ 0 h 6342361"/>
                <a:gd name="connsiteX0" fmla="*/ 0 w 7414910"/>
                <a:gd name="connsiteY0" fmla="*/ 0 h 6324493"/>
                <a:gd name="connsiteX1" fmla="*/ 7414910 w 7414910"/>
                <a:gd name="connsiteY1" fmla="*/ 0 h 6324493"/>
                <a:gd name="connsiteX2" fmla="*/ 5011940 w 7414910"/>
                <a:gd name="connsiteY2" fmla="*/ 6324493 h 6324493"/>
                <a:gd name="connsiteX3" fmla="*/ 6875 w 7414910"/>
                <a:gd name="connsiteY3" fmla="*/ 6321735 h 6324493"/>
                <a:gd name="connsiteX4" fmla="*/ 0 w 7414910"/>
                <a:gd name="connsiteY4" fmla="*/ 0 h 6324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14910" h="6324493">
                  <a:moveTo>
                    <a:pt x="0" y="0"/>
                  </a:moveTo>
                  <a:lnTo>
                    <a:pt x="7414910" y="0"/>
                  </a:lnTo>
                  <a:lnTo>
                    <a:pt x="5011940" y="6324493"/>
                  </a:lnTo>
                  <a:lnTo>
                    <a:pt x="6875" y="6321735"/>
                  </a:lnTo>
                  <a:cubicBezTo>
                    <a:pt x="4583" y="4207615"/>
                    <a:pt x="2292" y="2114120"/>
                    <a:pt x="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4">
              <a:extLst>
                <a:ext uri="{FF2B5EF4-FFF2-40B4-BE49-F238E27FC236}">
                  <a16:creationId xmlns:a16="http://schemas.microsoft.com/office/drawing/2014/main" id="{3252572B-4551-EA41-B282-BBF08243312B}"/>
                </a:ext>
              </a:extLst>
            </p:cNvPr>
            <p:cNvSpPr/>
            <p:nvPr userDrawn="1"/>
          </p:nvSpPr>
          <p:spPr>
            <a:xfrm>
              <a:off x="0" y="0"/>
              <a:ext cx="7504288" cy="6858000"/>
            </a:xfrm>
            <a:custGeom>
              <a:avLst/>
              <a:gdLst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7504288 w 7504288"/>
                <a:gd name="connsiteY2" fmla="*/ 6858000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58000"/>
                <a:gd name="connsiteX1" fmla="*/ 7504288 w 7504288"/>
                <a:gd name="connsiteY1" fmla="*/ 0 h 6858000"/>
                <a:gd name="connsiteX2" fmla="*/ 5094242 w 7504288"/>
                <a:gd name="connsiteY2" fmla="*/ 6843824 h 6858000"/>
                <a:gd name="connsiteX3" fmla="*/ 0 w 7504288"/>
                <a:gd name="connsiteY3" fmla="*/ 6858000 h 6858000"/>
                <a:gd name="connsiteX4" fmla="*/ 0 w 7504288"/>
                <a:gd name="connsiteY4" fmla="*/ 0 h 6858000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86998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  <a:gd name="connsiteX0" fmla="*/ 0 w 7504288"/>
                <a:gd name="connsiteY0" fmla="*/ 0 h 6860758"/>
                <a:gd name="connsiteX1" fmla="*/ 7504288 w 7504288"/>
                <a:gd name="connsiteY1" fmla="*/ 0 h 6860758"/>
                <a:gd name="connsiteX2" fmla="*/ 4901937 w 7504288"/>
                <a:gd name="connsiteY2" fmla="*/ 6860758 h 6860758"/>
                <a:gd name="connsiteX3" fmla="*/ 0 w 7504288"/>
                <a:gd name="connsiteY3" fmla="*/ 6858000 h 6860758"/>
                <a:gd name="connsiteX4" fmla="*/ 0 w 7504288"/>
                <a:gd name="connsiteY4" fmla="*/ 0 h 6860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504288" h="6860758">
                  <a:moveTo>
                    <a:pt x="0" y="0"/>
                  </a:moveTo>
                  <a:lnTo>
                    <a:pt x="7504288" y="0"/>
                  </a:lnTo>
                  <a:lnTo>
                    <a:pt x="4901937" y="6860758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E265AFB0-4D54-174E-9BFB-A8682983DF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372350" cy="6865088"/>
          </a:xfrm>
          <a:custGeom>
            <a:avLst/>
            <a:gdLst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737235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15369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01901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4919773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99271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78006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85094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2350" h="6865088">
                <a:moveTo>
                  <a:pt x="0" y="0"/>
                </a:moveTo>
                <a:lnTo>
                  <a:pt x="7372350" y="0"/>
                </a:lnTo>
                <a:lnTo>
                  <a:pt x="4785094" y="6865088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8FAF70C0-1E9D-FB45-BA24-53A6FE8B36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2608" y="2309963"/>
            <a:ext cx="3506470" cy="639201"/>
          </a:xfrm>
          <a:prstGeom prst="rect">
            <a:avLst/>
          </a:prstGeom>
          <a:noFill/>
        </p:spPr>
      </p:pic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6BAEEF84-39DF-C245-AB31-1E0EDBED1F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95942" y="3635233"/>
            <a:ext cx="4819012" cy="114361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Presentation Title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DB60B4F4-3433-1940-AFC8-2882950EC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5942" y="5238848"/>
            <a:ext cx="4819012" cy="1079423"/>
          </a:xfrm>
        </p:spPr>
        <p:txBody>
          <a:bodyPr>
            <a:normAutofit/>
          </a:bodyPr>
          <a:lstStyle>
            <a:lvl1pPr marL="0" indent="0"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167992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age_Wind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CD854AE-4D55-AE46-9253-B5768F94EF12}"/>
              </a:ext>
            </a:extLst>
          </p:cNvPr>
          <p:cNvSpPr/>
          <p:nvPr userDrawn="1"/>
        </p:nvSpPr>
        <p:spPr>
          <a:xfrm>
            <a:off x="5232489" y="3128646"/>
            <a:ext cx="6970776" cy="2578428"/>
          </a:xfrm>
          <a:custGeom>
            <a:avLst/>
            <a:gdLst>
              <a:gd name="connsiteX0" fmla="*/ 0 w 12192000"/>
              <a:gd name="connsiteY0" fmla="*/ 0 h 2578428"/>
              <a:gd name="connsiteX1" fmla="*/ 12192000 w 12192000"/>
              <a:gd name="connsiteY1" fmla="*/ 0 h 2578428"/>
              <a:gd name="connsiteX2" fmla="*/ 12192000 w 12192000"/>
              <a:gd name="connsiteY2" fmla="*/ 2578428 h 2578428"/>
              <a:gd name="connsiteX3" fmla="*/ 0 w 12192000"/>
              <a:gd name="connsiteY3" fmla="*/ 2578428 h 2578428"/>
              <a:gd name="connsiteX4" fmla="*/ 0 w 12192000"/>
              <a:gd name="connsiteY4" fmla="*/ 0 h 2578428"/>
              <a:gd name="connsiteX0" fmla="*/ 6327648 w 12192000"/>
              <a:gd name="connsiteY0" fmla="*/ 0 h 2578428"/>
              <a:gd name="connsiteX1" fmla="*/ 12192000 w 12192000"/>
              <a:gd name="connsiteY1" fmla="*/ 0 h 2578428"/>
              <a:gd name="connsiteX2" fmla="*/ 12192000 w 12192000"/>
              <a:gd name="connsiteY2" fmla="*/ 2578428 h 2578428"/>
              <a:gd name="connsiteX3" fmla="*/ 0 w 12192000"/>
              <a:gd name="connsiteY3" fmla="*/ 2578428 h 2578428"/>
              <a:gd name="connsiteX4" fmla="*/ 6327648 w 12192000"/>
              <a:gd name="connsiteY4" fmla="*/ 0 h 2578428"/>
              <a:gd name="connsiteX0" fmla="*/ 1106424 w 6970776"/>
              <a:gd name="connsiteY0" fmla="*/ 0 h 2578428"/>
              <a:gd name="connsiteX1" fmla="*/ 6970776 w 6970776"/>
              <a:gd name="connsiteY1" fmla="*/ 0 h 2578428"/>
              <a:gd name="connsiteX2" fmla="*/ 6970776 w 6970776"/>
              <a:gd name="connsiteY2" fmla="*/ 2578428 h 2578428"/>
              <a:gd name="connsiteX3" fmla="*/ 0 w 6970776"/>
              <a:gd name="connsiteY3" fmla="*/ 2578428 h 2578428"/>
              <a:gd name="connsiteX4" fmla="*/ 1106424 w 6970776"/>
              <a:gd name="connsiteY4" fmla="*/ 0 h 2578428"/>
              <a:gd name="connsiteX0" fmla="*/ 950976 w 6970776"/>
              <a:gd name="connsiteY0" fmla="*/ 0 h 2578428"/>
              <a:gd name="connsiteX1" fmla="*/ 6970776 w 6970776"/>
              <a:gd name="connsiteY1" fmla="*/ 0 h 2578428"/>
              <a:gd name="connsiteX2" fmla="*/ 6970776 w 6970776"/>
              <a:gd name="connsiteY2" fmla="*/ 2578428 h 2578428"/>
              <a:gd name="connsiteX3" fmla="*/ 0 w 6970776"/>
              <a:gd name="connsiteY3" fmla="*/ 2578428 h 2578428"/>
              <a:gd name="connsiteX4" fmla="*/ 950976 w 6970776"/>
              <a:gd name="connsiteY4" fmla="*/ 0 h 2578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70776" h="2578428">
                <a:moveTo>
                  <a:pt x="950976" y="0"/>
                </a:moveTo>
                <a:lnTo>
                  <a:pt x="6970776" y="0"/>
                </a:lnTo>
                <a:lnTo>
                  <a:pt x="6970776" y="2578428"/>
                </a:lnTo>
                <a:lnTo>
                  <a:pt x="0" y="2578428"/>
                </a:lnTo>
                <a:lnTo>
                  <a:pt x="950976" y="0"/>
                </a:lnTo>
                <a:close/>
              </a:path>
            </a:pathLst>
          </a:custGeom>
          <a:solidFill>
            <a:srgbClr val="276D93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1445BF32-80A1-8E49-B5D3-1CCB698B6A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7088"/>
            <a:ext cx="7372350" cy="6865088"/>
          </a:xfrm>
          <a:custGeom>
            <a:avLst/>
            <a:gdLst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737235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15369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5019010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58000"/>
              <a:gd name="connsiteX1" fmla="*/ 7372350 w 7372350"/>
              <a:gd name="connsiteY1" fmla="*/ 0 h 6858000"/>
              <a:gd name="connsiteX2" fmla="*/ 4919773 w 7372350"/>
              <a:gd name="connsiteY2" fmla="*/ 6858000 h 6858000"/>
              <a:gd name="connsiteX3" fmla="*/ 0 w 7372350"/>
              <a:gd name="connsiteY3" fmla="*/ 6858000 h 6858000"/>
              <a:gd name="connsiteX4" fmla="*/ 0 w 7372350"/>
              <a:gd name="connsiteY4" fmla="*/ 0 h 6858000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99271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78006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85094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797794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  <a:gd name="connsiteX0" fmla="*/ 0 w 7372350"/>
              <a:gd name="connsiteY0" fmla="*/ 0 h 6865088"/>
              <a:gd name="connsiteX1" fmla="*/ 7372350 w 7372350"/>
              <a:gd name="connsiteY1" fmla="*/ 0 h 6865088"/>
              <a:gd name="connsiteX2" fmla="*/ 4804144 w 7372350"/>
              <a:gd name="connsiteY2" fmla="*/ 6865088 h 6865088"/>
              <a:gd name="connsiteX3" fmla="*/ 0 w 7372350"/>
              <a:gd name="connsiteY3" fmla="*/ 6858000 h 6865088"/>
              <a:gd name="connsiteX4" fmla="*/ 0 w 7372350"/>
              <a:gd name="connsiteY4" fmla="*/ 0 h 6865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2350" h="6865088">
                <a:moveTo>
                  <a:pt x="0" y="0"/>
                </a:moveTo>
                <a:lnTo>
                  <a:pt x="7372350" y="0"/>
                </a:lnTo>
                <a:lnTo>
                  <a:pt x="4804144" y="6865088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10000"/>
              <a:lumOff val="9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2DB77029-B616-644A-879D-1768D9FA09B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9119" y="3357447"/>
            <a:ext cx="5628881" cy="131762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40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Section Head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BDE5A82-5065-9F42-A954-C1D311E59267}"/>
              </a:ext>
            </a:extLst>
          </p:cNvPr>
          <p:cNvSpPr/>
          <p:nvPr userDrawn="1"/>
        </p:nvSpPr>
        <p:spPr>
          <a:xfrm>
            <a:off x="6387145" y="4664293"/>
            <a:ext cx="674665" cy="7448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BF04"/>
              </a:solidFill>
            </a:endParaRP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C094C20D-938E-5748-AB7E-09ACA5B6C1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09119" y="4713375"/>
            <a:ext cx="5628881" cy="75570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Click to Editing Section </a:t>
            </a:r>
            <a:r>
              <a:rPr lang="en-US" dirty="0" err="1"/>
              <a:t>Subheader</a:t>
            </a:r>
            <a:endParaRPr lang="en-US" dirty="0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A6F43C83-1972-564F-8CD5-3D7615DBA3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9438" y="475821"/>
            <a:ext cx="2472575" cy="450730"/>
          </a:xfrm>
          <a:prstGeom prst="rect">
            <a:avLst/>
          </a:prstGeom>
        </p:spPr>
      </p:pic>
      <p:sp>
        <p:nvSpPr>
          <p:cNvPr id="38" name="Data 27">
            <a:extLst>
              <a:ext uri="{FF2B5EF4-FFF2-40B4-BE49-F238E27FC236}">
                <a16:creationId xmlns:a16="http://schemas.microsoft.com/office/drawing/2014/main" id="{A01FE90E-8C95-5249-AF45-23C40FDCEA05}"/>
              </a:ext>
            </a:extLst>
          </p:cNvPr>
          <p:cNvSpPr/>
          <p:nvPr userDrawn="1"/>
        </p:nvSpPr>
        <p:spPr>
          <a:xfrm rot="10800000">
            <a:off x="4795542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266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1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A02F11-845D-A54E-83F9-D632EA4272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5350" y="-3176"/>
            <a:ext cx="4946650" cy="6871335"/>
          </a:xfrm>
          <a:custGeom>
            <a:avLst/>
            <a:gdLst>
              <a:gd name="connsiteX0" fmla="*/ 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0 w 4997450"/>
              <a:gd name="connsiteY4" fmla="*/ 0 h 6858000"/>
              <a:gd name="connsiteX0" fmla="*/ 267208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2672080 w 4997450"/>
              <a:gd name="connsiteY4" fmla="*/ 0 h 6858000"/>
              <a:gd name="connsiteX0" fmla="*/ 2621280 w 4946650"/>
              <a:gd name="connsiteY0" fmla="*/ 0 h 6868160"/>
              <a:gd name="connsiteX1" fmla="*/ 4946650 w 4946650"/>
              <a:gd name="connsiteY1" fmla="*/ 0 h 6868160"/>
              <a:gd name="connsiteX2" fmla="*/ 4946650 w 4946650"/>
              <a:gd name="connsiteY2" fmla="*/ 6858000 h 6868160"/>
              <a:gd name="connsiteX3" fmla="*/ 0 w 4946650"/>
              <a:gd name="connsiteY3" fmla="*/ 6868160 h 6868160"/>
              <a:gd name="connsiteX4" fmla="*/ 2621280 w 4946650"/>
              <a:gd name="connsiteY4" fmla="*/ 0 h 6868160"/>
              <a:gd name="connsiteX0" fmla="*/ 2621280 w 4946650"/>
              <a:gd name="connsiteY0" fmla="*/ 0 h 6868160"/>
              <a:gd name="connsiteX1" fmla="*/ 4946650 w 4946650"/>
              <a:gd name="connsiteY1" fmla="*/ 0 h 6868160"/>
              <a:gd name="connsiteX2" fmla="*/ 4946650 w 4946650"/>
              <a:gd name="connsiteY2" fmla="*/ 6858000 h 6868160"/>
              <a:gd name="connsiteX3" fmla="*/ 0 w 4946650"/>
              <a:gd name="connsiteY3" fmla="*/ 6868160 h 6868160"/>
              <a:gd name="connsiteX4" fmla="*/ 2621280 w 4946650"/>
              <a:gd name="connsiteY4" fmla="*/ 0 h 6868160"/>
              <a:gd name="connsiteX0" fmla="*/ 2618105 w 4946650"/>
              <a:gd name="connsiteY0" fmla="*/ 0 h 6871335"/>
              <a:gd name="connsiteX1" fmla="*/ 4946650 w 4946650"/>
              <a:gd name="connsiteY1" fmla="*/ 3175 h 6871335"/>
              <a:gd name="connsiteX2" fmla="*/ 4946650 w 4946650"/>
              <a:gd name="connsiteY2" fmla="*/ 6861175 h 6871335"/>
              <a:gd name="connsiteX3" fmla="*/ 0 w 4946650"/>
              <a:gd name="connsiteY3" fmla="*/ 6871335 h 6871335"/>
              <a:gd name="connsiteX4" fmla="*/ 2618105 w 4946650"/>
              <a:gd name="connsiteY4" fmla="*/ 0 h 6871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6871335">
                <a:moveTo>
                  <a:pt x="2618105" y="0"/>
                </a:moveTo>
                <a:lnTo>
                  <a:pt x="4946650" y="3175"/>
                </a:lnTo>
                <a:lnTo>
                  <a:pt x="4946650" y="6861175"/>
                </a:lnTo>
                <a:lnTo>
                  <a:pt x="0" y="6871335"/>
                </a:lnTo>
                <a:lnTo>
                  <a:pt x="2618105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9" name="Data 27">
            <a:extLst>
              <a:ext uri="{FF2B5EF4-FFF2-40B4-BE49-F238E27FC236}">
                <a16:creationId xmlns:a16="http://schemas.microsoft.com/office/drawing/2014/main" id="{8F6FF35A-20AC-264C-B1DE-5FE96F8946A4}"/>
              </a:ext>
            </a:extLst>
          </p:cNvPr>
          <p:cNvSpPr/>
          <p:nvPr userDrawn="1"/>
        </p:nvSpPr>
        <p:spPr>
          <a:xfrm rot="10800000">
            <a:off x="7142885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25">
            <a:extLst>
              <a:ext uri="{FF2B5EF4-FFF2-40B4-BE49-F238E27FC236}">
                <a16:creationId xmlns:a16="http://schemas.microsoft.com/office/drawing/2014/main" id="{9174E909-0703-964D-AFE7-68C5B94D2234}"/>
              </a:ext>
            </a:extLst>
          </p:cNvPr>
          <p:cNvSpPr/>
          <p:nvPr userDrawn="1"/>
        </p:nvSpPr>
        <p:spPr>
          <a:xfrm>
            <a:off x="0" y="239165"/>
            <a:ext cx="9774358" cy="612650"/>
          </a:xfrm>
          <a:custGeom>
            <a:avLst/>
            <a:gdLst>
              <a:gd name="connsiteX0" fmla="*/ 0 w 12191999"/>
              <a:gd name="connsiteY0" fmla="*/ 0 h 603858"/>
              <a:gd name="connsiteX1" fmla="*/ 12191999 w 12191999"/>
              <a:gd name="connsiteY1" fmla="*/ 0 h 603858"/>
              <a:gd name="connsiteX2" fmla="*/ 12191999 w 12191999"/>
              <a:gd name="connsiteY2" fmla="*/ 603858 h 603858"/>
              <a:gd name="connsiteX3" fmla="*/ 0 w 12191999"/>
              <a:gd name="connsiteY3" fmla="*/ 603858 h 603858"/>
              <a:gd name="connsiteX4" fmla="*/ 0 w 12191999"/>
              <a:gd name="connsiteY4" fmla="*/ 0 h 603858"/>
              <a:gd name="connsiteX0" fmla="*/ 0 w 12191999"/>
              <a:gd name="connsiteY0" fmla="*/ 0 h 612650"/>
              <a:gd name="connsiteX1" fmla="*/ 12191999 w 12191999"/>
              <a:gd name="connsiteY1" fmla="*/ 0 h 612650"/>
              <a:gd name="connsiteX2" fmla="*/ 9527929 w 12191999"/>
              <a:gd name="connsiteY2" fmla="*/ 612650 h 612650"/>
              <a:gd name="connsiteX3" fmla="*/ 0 w 12191999"/>
              <a:gd name="connsiteY3" fmla="*/ 603858 h 612650"/>
              <a:gd name="connsiteX4" fmla="*/ 0 w 12191999"/>
              <a:gd name="connsiteY4" fmla="*/ 0 h 612650"/>
              <a:gd name="connsiteX0" fmla="*/ 0 w 9809283"/>
              <a:gd name="connsiteY0" fmla="*/ 0 h 612650"/>
              <a:gd name="connsiteX1" fmla="*/ 9809283 w 9809283"/>
              <a:gd name="connsiteY1" fmla="*/ 0 h 612650"/>
              <a:gd name="connsiteX2" fmla="*/ 9527929 w 9809283"/>
              <a:gd name="connsiteY2" fmla="*/ 612650 h 612650"/>
              <a:gd name="connsiteX3" fmla="*/ 0 w 9809283"/>
              <a:gd name="connsiteY3" fmla="*/ 603858 h 612650"/>
              <a:gd name="connsiteX4" fmla="*/ 0 w 9809283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279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31104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406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74358"/>
              <a:gd name="connsiteY0" fmla="*/ 0 h 612650"/>
              <a:gd name="connsiteX1" fmla="*/ 9774358 w 9774358"/>
              <a:gd name="connsiteY1" fmla="*/ 0 h 612650"/>
              <a:gd name="connsiteX2" fmla="*/ 9540629 w 9774358"/>
              <a:gd name="connsiteY2" fmla="*/ 612650 h 612650"/>
              <a:gd name="connsiteX3" fmla="*/ 0 w 9774358"/>
              <a:gd name="connsiteY3" fmla="*/ 603858 h 612650"/>
              <a:gd name="connsiteX4" fmla="*/ 0 w 9774358"/>
              <a:gd name="connsiteY4" fmla="*/ 0 h 61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74358" h="612650">
                <a:moveTo>
                  <a:pt x="0" y="0"/>
                </a:moveTo>
                <a:lnTo>
                  <a:pt x="9774358" y="0"/>
                </a:lnTo>
                <a:lnTo>
                  <a:pt x="9540629" y="612650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 descr="Shape&#10;&#10;Description automatically generated with medium confidence">
            <a:extLst>
              <a:ext uri="{FF2B5EF4-FFF2-40B4-BE49-F238E27FC236}">
                <a16:creationId xmlns:a16="http://schemas.microsoft.com/office/drawing/2014/main" id="{28B873FF-4FA5-A94F-B642-772B1634B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093" y="284745"/>
            <a:ext cx="8721075" cy="512699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F11554EB-598A-AC45-964A-02F863821C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471" y="1082189"/>
            <a:ext cx="6776710" cy="5259142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4153384-EEAB-1F4C-AB34-5A56F5D3D2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95331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Right Callou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DDE4B2-4AB5-304F-AB99-F2C585E803EC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644B943-9824-BE4C-A01E-C5D49311670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C8BA49E-E8E3-E444-9ED0-5EB6F65318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416562" y="1082189"/>
            <a:ext cx="2499213" cy="5259142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Data 19">
            <a:extLst>
              <a:ext uri="{FF2B5EF4-FFF2-40B4-BE49-F238E27FC236}">
                <a16:creationId xmlns:a16="http://schemas.microsoft.com/office/drawing/2014/main" id="{5E23A91C-1CA2-BA47-A136-FC725CA3662D}"/>
              </a:ext>
            </a:extLst>
          </p:cNvPr>
          <p:cNvSpPr/>
          <p:nvPr userDrawn="1"/>
        </p:nvSpPr>
        <p:spPr>
          <a:xfrm>
            <a:off x="7246430" y="12"/>
            <a:ext cx="4948539" cy="687142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8000"/>
              <a:gd name="connsiteY0" fmla="*/ 10000 h 10000"/>
              <a:gd name="connsiteX1" fmla="*/ 2000 w 8000"/>
              <a:gd name="connsiteY1" fmla="*/ 0 h 10000"/>
              <a:gd name="connsiteX2" fmla="*/ 6138 w 8000"/>
              <a:gd name="connsiteY2" fmla="*/ 0 h 10000"/>
              <a:gd name="connsiteX3" fmla="*/ 8000 w 8000"/>
              <a:gd name="connsiteY3" fmla="*/ 10000 h 10000"/>
              <a:gd name="connsiteX4" fmla="*/ 0 w 8000"/>
              <a:gd name="connsiteY4" fmla="*/ 10000 h 10000"/>
              <a:gd name="connsiteX0" fmla="*/ 0 w 10000"/>
              <a:gd name="connsiteY0" fmla="*/ 10000 h 10000"/>
              <a:gd name="connsiteX1" fmla="*/ 2500 w 10000"/>
              <a:gd name="connsiteY1" fmla="*/ 0 h 10000"/>
              <a:gd name="connsiteX2" fmla="*/ 5394 w 10000"/>
              <a:gd name="connsiteY2" fmla="*/ 14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500 w 10000"/>
              <a:gd name="connsiteY1" fmla="*/ 0 h 10000"/>
              <a:gd name="connsiteX2" fmla="*/ 7207 w 10000"/>
              <a:gd name="connsiteY2" fmla="*/ 14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0" fmla="*/ 0 w 7254"/>
              <a:gd name="connsiteY0" fmla="*/ 10000 h 10000"/>
              <a:gd name="connsiteX1" fmla="*/ 2500 w 7254"/>
              <a:gd name="connsiteY1" fmla="*/ 0 h 10000"/>
              <a:gd name="connsiteX2" fmla="*/ 7207 w 7254"/>
              <a:gd name="connsiteY2" fmla="*/ 14 h 10000"/>
              <a:gd name="connsiteX3" fmla="*/ 7254 w 7254"/>
              <a:gd name="connsiteY3" fmla="*/ 10000 h 10000"/>
              <a:gd name="connsiteX4" fmla="*/ 0 w 7254"/>
              <a:gd name="connsiteY4" fmla="*/ 10000 h 10000"/>
              <a:gd name="connsiteX0" fmla="*/ 0 w 9935"/>
              <a:gd name="connsiteY0" fmla="*/ 10000 h 10000"/>
              <a:gd name="connsiteX1" fmla="*/ 3446 w 9935"/>
              <a:gd name="connsiteY1" fmla="*/ 0 h 10000"/>
              <a:gd name="connsiteX2" fmla="*/ 9935 w 9935"/>
              <a:gd name="connsiteY2" fmla="*/ 14 h 10000"/>
              <a:gd name="connsiteX3" fmla="*/ 9085 w 9935"/>
              <a:gd name="connsiteY3" fmla="*/ 9986 h 10000"/>
              <a:gd name="connsiteX4" fmla="*/ 0 w 9935"/>
              <a:gd name="connsiteY4" fmla="*/ 10000 h 10000"/>
              <a:gd name="connsiteX0" fmla="*/ 0 w 10016"/>
              <a:gd name="connsiteY0" fmla="*/ 10000 h 10000"/>
              <a:gd name="connsiteX1" fmla="*/ 3469 w 10016"/>
              <a:gd name="connsiteY1" fmla="*/ 0 h 10000"/>
              <a:gd name="connsiteX2" fmla="*/ 10000 w 10016"/>
              <a:gd name="connsiteY2" fmla="*/ 14 h 10000"/>
              <a:gd name="connsiteX3" fmla="*/ 10016 w 10016"/>
              <a:gd name="connsiteY3" fmla="*/ 9986 h 10000"/>
              <a:gd name="connsiteX4" fmla="*/ 0 w 10016"/>
              <a:gd name="connsiteY4" fmla="*/ 10000 h 10000"/>
              <a:gd name="connsiteX0" fmla="*/ 0 w 12907"/>
              <a:gd name="connsiteY0" fmla="*/ 10011 h 10011"/>
              <a:gd name="connsiteX1" fmla="*/ 6360 w 12907"/>
              <a:gd name="connsiteY1" fmla="*/ 0 h 10011"/>
              <a:gd name="connsiteX2" fmla="*/ 12891 w 12907"/>
              <a:gd name="connsiteY2" fmla="*/ 14 h 10011"/>
              <a:gd name="connsiteX3" fmla="*/ 12907 w 12907"/>
              <a:gd name="connsiteY3" fmla="*/ 9986 h 10011"/>
              <a:gd name="connsiteX4" fmla="*/ 0 w 12907"/>
              <a:gd name="connsiteY4" fmla="*/ 10011 h 10011"/>
              <a:gd name="connsiteX0" fmla="*/ 0 w 13065"/>
              <a:gd name="connsiteY0" fmla="*/ 9989 h 9989"/>
              <a:gd name="connsiteX1" fmla="*/ 6518 w 13065"/>
              <a:gd name="connsiteY1" fmla="*/ 0 h 9989"/>
              <a:gd name="connsiteX2" fmla="*/ 13049 w 13065"/>
              <a:gd name="connsiteY2" fmla="*/ 14 h 9989"/>
              <a:gd name="connsiteX3" fmla="*/ 13065 w 13065"/>
              <a:gd name="connsiteY3" fmla="*/ 9986 h 9989"/>
              <a:gd name="connsiteX4" fmla="*/ 0 w 13065"/>
              <a:gd name="connsiteY4" fmla="*/ 9989 h 9989"/>
              <a:gd name="connsiteX0" fmla="*/ 0 w 10000"/>
              <a:gd name="connsiteY0" fmla="*/ 10005 h 10005"/>
              <a:gd name="connsiteX1" fmla="*/ 4989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  <a:gd name="connsiteX0" fmla="*/ 0 w 10000"/>
              <a:gd name="connsiteY0" fmla="*/ 10005 h 10005"/>
              <a:gd name="connsiteX1" fmla="*/ 5149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  <a:gd name="connsiteX0" fmla="*/ 0 w 10000"/>
              <a:gd name="connsiteY0" fmla="*/ 10005 h 10005"/>
              <a:gd name="connsiteX1" fmla="*/ 5256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  <a:gd name="connsiteX0" fmla="*/ 0 w 10005"/>
              <a:gd name="connsiteY0" fmla="*/ 10000 h 10000"/>
              <a:gd name="connsiteX1" fmla="*/ 5256 w 10005"/>
              <a:gd name="connsiteY1" fmla="*/ 0 h 10000"/>
              <a:gd name="connsiteX2" fmla="*/ 10001 w 10005"/>
              <a:gd name="connsiteY2" fmla="*/ 0 h 10000"/>
              <a:gd name="connsiteX3" fmla="*/ 10000 w 10005"/>
              <a:gd name="connsiteY3" fmla="*/ 9997 h 10000"/>
              <a:gd name="connsiteX4" fmla="*/ 0 w 10005"/>
              <a:gd name="connsiteY4" fmla="*/ 10000 h 10000"/>
              <a:gd name="connsiteX0" fmla="*/ 0 w 10006"/>
              <a:gd name="connsiteY0" fmla="*/ 10000 h 10000"/>
              <a:gd name="connsiteX1" fmla="*/ 5256 w 10006"/>
              <a:gd name="connsiteY1" fmla="*/ 0 h 10000"/>
              <a:gd name="connsiteX2" fmla="*/ 10001 w 10006"/>
              <a:gd name="connsiteY2" fmla="*/ 0 h 10000"/>
              <a:gd name="connsiteX3" fmla="*/ 10006 w 10006"/>
              <a:gd name="connsiteY3" fmla="*/ 9992 h 10000"/>
              <a:gd name="connsiteX4" fmla="*/ 0 w 10006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6" h="10000">
                <a:moveTo>
                  <a:pt x="0" y="10000"/>
                </a:moveTo>
                <a:lnTo>
                  <a:pt x="5256" y="0"/>
                </a:lnTo>
                <a:lnTo>
                  <a:pt x="10001" y="0"/>
                </a:lnTo>
                <a:cubicBezTo>
                  <a:pt x="10018" y="3333"/>
                  <a:pt x="9989" y="6659"/>
                  <a:pt x="10006" y="9992"/>
                </a:cubicBezTo>
                <a:lnTo>
                  <a:pt x="0" y="10000"/>
                </a:lnTo>
                <a:close/>
              </a:path>
            </a:pathLst>
          </a:custGeom>
          <a:solidFill>
            <a:srgbClr val="276D93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D7682C59-E949-6A40-80AA-B80A27CB97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471" y="1082189"/>
            <a:ext cx="6776710" cy="5259142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A2F8C21A-0CE6-034F-BD77-B296EE34A5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  <p:sp>
        <p:nvSpPr>
          <p:cNvPr id="21" name="Data 27">
            <a:extLst>
              <a:ext uri="{FF2B5EF4-FFF2-40B4-BE49-F238E27FC236}">
                <a16:creationId xmlns:a16="http://schemas.microsoft.com/office/drawing/2014/main" id="{3A6A5B29-8198-7443-AACF-A0C3F8464279}"/>
              </a:ext>
            </a:extLst>
          </p:cNvPr>
          <p:cNvSpPr/>
          <p:nvPr userDrawn="1"/>
        </p:nvSpPr>
        <p:spPr>
          <a:xfrm rot="10800000">
            <a:off x="7142885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D408B38E-1B2B-CB46-BAAC-BAAFC72BDFDE}"/>
              </a:ext>
            </a:extLst>
          </p:cNvPr>
          <p:cNvSpPr/>
          <p:nvPr userDrawn="1"/>
        </p:nvSpPr>
        <p:spPr>
          <a:xfrm>
            <a:off x="0" y="234769"/>
            <a:ext cx="9785350" cy="612650"/>
          </a:xfrm>
          <a:custGeom>
            <a:avLst/>
            <a:gdLst>
              <a:gd name="connsiteX0" fmla="*/ 0 w 12191999"/>
              <a:gd name="connsiteY0" fmla="*/ 0 h 603858"/>
              <a:gd name="connsiteX1" fmla="*/ 12191999 w 12191999"/>
              <a:gd name="connsiteY1" fmla="*/ 0 h 603858"/>
              <a:gd name="connsiteX2" fmla="*/ 12191999 w 12191999"/>
              <a:gd name="connsiteY2" fmla="*/ 603858 h 603858"/>
              <a:gd name="connsiteX3" fmla="*/ 0 w 12191999"/>
              <a:gd name="connsiteY3" fmla="*/ 603858 h 603858"/>
              <a:gd name="connsiteX4" fmla="*/ 0 w 12191999"/>
              <a:gd name="connsiteY4" fmla="*/ 0 h 603858"/>
              <a:gd name="connsiteX0" fmla="*/ 0 w 12191999"/>
              <a:gd name="connsiteY0" fmla="*/ 0 h 612650"/>
              <a:gd name="connsiteX1" fmla="*/ 12191999 w 12191999"/>
              <a:gd name="connsiteY1" fmla="*/ 0 h 612650"/>
              <a:gd name="connsiteX2" fmla="*/ 9527929 w 12191999"/>
              <a:gd name="connsiteY2" fmla="*/ 612650 h 612650"/>
              <a:gd name="connsiteX3" fmla="*/ 0 w 12191999"/>
              <a:gd name="connsiteY3" fmla="*/ 603858 h 612650"/>
              <a:gd name="connsiteX4" fmla="*/ 0 w 12191999"/>
              <a:gd name="connsiteY4" fmla="*/ 0 h 612650"/>
              <a:gd name="connsiteX0" fmla="*/ 0 w 9809283"/>
              <a:gd name="connsiteY0" fmla="*/ 0 h 612650"/>
              <a:gd name="connsiteX1" fmla="*/ 9809283 w 9809283"/>
              <a:gd name="connsiteY1" fmla="*/ 0 h 612650"/>
              <a:gd name="connsiteX2" fmla="*/ 9527929 w 9809283"/>
              <a:gd name="connsiteY2" fmla="*/ 612650 h 612650"/>
              <a:gd name="connsiteX3" fmla="*/ 0 w 9809283"/>
              <a:gd name="connsiteY3" fmla="*/ 603858 h 612650"/>
              <a:gd name="connsiteX4" fmla="*/ 0 w 9809283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279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31104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406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74358"/>
              <a:gd name="connsiteY0" fmla="*/ 0 h 612650"/>
              <a:gd name="connsiteX1" fmla="*/ 9774358 w 9774358"/>
              <a:gd name="connsiteY1" fmla="*/ 0 h 612650"/>
              <a:gd name="connsiteX2" fmla="*/ 9540629 w 9774358"/>
              <a:gd name="connsiteY2" fmla="*/ 612650 h 612650"/>
              <a:gd name="connsiteX3" fmla="*/ 0 w 9774358"/>
              <a:gd name="connsiteY3" fmla="*/ 603858 h 612650"/>
              <a:gd name="connsiteX4" fmla="*/ 0 w 9774358"/>
              <a:gd name="connsiteY4" fmla="*/ 0 h 61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74358" h="612650">
                <a:moveTo>
                  <a:pt x="0" y="0"/>
                </a:moveTo>
                <a:lnTo>
                  <a:pt x="9774358" y="0"/>
                </a:lnTo>
                <a:lnTo>
                  <a:pt x="9540629" y="612650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0" descr="Shape&#10;&#10;Description automatically generated with medium confidence">
            <a:extLst>
              <a:ext uri="{FF2B5EF4-FFF2-40B4-BE49-F238E27FC236}">
                <a16:creationId xmlns:a16="http://schemas.microsoft.com/office/drawing/2014/main" id="{E57EE4FF-E4FF-7443-837B-65FE5A5DD3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33" name="Title 1">
            <a:extLst>
              <a:ext uri="{FF2B5EF4-FFF2-40B4-BE49-F238E27FC236}">
                <a16:creationId xmlns:a16="http://schemas.microsoft.com/office/drawing/2014/main" id="{3CF95CFB-C11C-0947-AA4B-F0E330100E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093" y="284745"/>
            <a:ext cx="8721075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</p:spTree>
    <p:extLst>
      <p:ext uri="{BB962C8B-B14F-4D97-AF65-F5344CB8AC3E}">
        <p14:creationId xmlns:p14="http://schemas.microsoft.com/office/powerpoint/2010/main" val="2124562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F4F949B-03D5-864A-95B9-7D5007BFED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936062" cy="6858000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20882"/>
              <a:gd name="connsiteY0" fmla="*/ 0 h 10000"/>
              <a:gd name="connsiteX1" fmla="*/ 20882 w 20882"/>
              <a:gd name="connsiteY1" fmla="*/ 0 h 10000"/>
              <a:gd name="connsiteX2" fmla="*/ 10000 w 20882"/>
              <a:gd name="connsiteY2" fmla="*/ 10000 h 10000"/>
              <a:gd name="connsiteX3" fmla="*/ 0 w 20882"/>
              <a:gd name="connsiteY3" fmla="*/ 10000 h 10000"/>
              <a:gd name="connsiteX4" fmla="*/ 0 w 20882"/>
              <a:gd name="connsiteY4" fmla="*/ 0 h 10000"/>
              <a:gd name="connsiteX0" fmla="*/ 0 w 20882"/>
              <a:gd name="connsiteY0" fmla="*/ 0 h 10000"/>
              <a:gd name="connsiteX1" fmla="*/ 20882 w 20882"/>
              <a:gd name="connsiteY1" fmla="*/ 0 h 10000"/>
              <a:gd name="connsiteX2" fmla="*/ 9811 w 20882"/>
              <a:gd name="connsiteY2" fmla="*/ 10000 h 10000"/>
              <a:gd name="connsiteX3" fmla="*/ 0 w 20882"/>
              <a:gd name="connsiteY3" fmla="*/ 10000 h 10000"/>
              <a:gd name="connsiteX4" fmla="*/ 0 w 2088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82" h="10000">
                <a:moveTo>
                  <a:pt x="0" y="0"/>
                </a:moveTo>
                <a:lnTo>
                  <a:pt x="20882" y="0"/>
                </a:lnTo>
                <a:lnTo>
                  <a:pt x="9811" y="10000"/>
                </a:lnTo>
                <a:lnTo>
                  <a:pt x="0" y="10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58CDBBD-C7F9-4E48-9C09-DAF9647AF1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A2B58F5-D44D-EB40-A5FD-A87415B339DD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a 27">
            <a:extLst>
              <a:ext uri="{FF2B5EF4-FFF2-40B4-BE49-F238E27FC236}">
                <a16:creationId xmlns:a16="http://schemas.microsoft.com/office/drawing/2014/main" id="{E3DB025F-756A-0248-B289-384DA22FD92A}"/>
              </a:ext>
            </a:extLst>
          </p:cNvPr>
          <p:cNvSpPr/>
          <p:nvPr userDrawn="1"/>
        </p:nvSpPr>
        <p:spPr>
          <a:xfrm rot="10800000">
            <a:off x="2316199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149732-FFC9-894E-BC84-52CF70F78D85}"/>
              </a:ext>
            </a:extLst>
          </p:cNvPr>
          <p:cNvSpPr/>
          <p:nvPr userDrawn="1"/>
        </p:nvSpPr>
        <p:spPr>
          <a:xfrm>
            <a:off x="0" y="239165"/>
            <a:ext cx="12191999" cy="603858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35B1568-F9C4-D24B-83B3-FA266BE75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4493" y="284745"/>
            <a:ext cx="6639336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17" name="Picture 16" descr="Shape&#10;&#10;Description automatically generated with medium confidence">
            <a:extLst>
              <a:ext uri="{FF2B5EF4-FFF2-40B4-BE49-F238E27FC236}">
                <a16:creationId xmlns:a16="http://schemas.microsoft.com/office/drawing/2014/main" id="{A2D9E01B-D842-214C-BB79-241E9601E7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3221" y="387074"/>
            <a:ext cx="274156" cy="308040"/>
          </a:xfrm>
          <a:prstGeom prst="rect">
            <a:avLst/>
          </a:prstGeom>
        </p:spPr>
      </p:pic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56691D7D-B2FF-0C45-BBAB-26E0A994BC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57376" y="1082189"/>
            <a:ext cx="6656453" cy="5259142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29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2 Righ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C5F18F7-948A-2C42-A055-FAAA928CE79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915762" y="-13621"/>
            <a:ext cx="6838902" cy="6876306"/>
          </a:xfrm>
          <a:custGeom>
            <a:avLst/>
            <a:gdLst>
              <a:gd name="connsiteX0" fmla="*/ 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0 w 4997450"/>
              <a:gd name="connsiteY4" fmla="*/ 0 h 6858000"/>
              <a:gd name="connsiteX0" fmla="*/ 267208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2672080 w 4997450"/>
              <a:gd name="connsiteY4" fmla="*/ 0 h 6858000"/>
              <a:gd name="connsiteX0" fmla="*/ 2621280 w 4946650"/>
              <a:gd name="connsiteY0" fmla="*/ 0 h 6868160"/>
              <a:gd name="connsiteX1" fmla="*/ 4946650 w 4946650"/>
              <a:gd name="connsiteY1" fmla="*/ 0 h 6868160"/>
              <a:gd name="connsiteX2" fmla="*/ 4946650 w 4946650"/>
              <a:gd name="connsiteY2" fmla="*/ 6858000 h 6868160"/>
              <a:gd name="connsiteX3" fmla="*/ 0 w 4946650"/>
              <a:gd name="connsiteY3" fmla="*/ 6868160 h 6868160"/>
              <a:gd name="connsiteX4" fmla="*/ 2621280 w 4946650"/>
              <a:gd name="connsiteY4" fmla="*/ 0 h 6868160"/>
              <a:gd name="connsiteX0" fmla="*/ 1854585 w 4946650"/>
              <a:gd name="connsiteY0" fmla="*/ 1984388 h 6868160"/>
              <a:gd name="connsiteX1" fmla="*/ 4946650 w 4946650"/>
              <a:gd name="connsiteY1" fmla="*/ 0 h 6868160"/>
              <a:gd name="connsiteX2" fmla="*/ 4946650 w 4946650"/>
              <a:gd name="connsiteY2" fmla="*/ 6858000 h 6868160"/>
              <a:gd name="connsiteX3" fmla="*/ 0 w 4946650"/>
              <a:gd name="connsiteY3" fmla="*/ 6868160 h 6868160"/>
              <a:gd name="connsiteX4" fmla="*/ 1854585 w 4946650"/>
              <a:gd name="connsiteY4" fmla="*/ 1984388 h 6868160"/>
              <a:gd name="connsiteX0" fmla="*/ 1854585 w 4946650"/>
              <a:gd name="connsiteY0" fmla="*/ 36080 h 4919852"/>
              <a:gd name="connsiteX1" fmla="*/ 4946650 w 4946650"/>
              <a:gd name="connsiteY1" fmla="*/ 0 h 4919852"/>
              <a:gd name="connsiteX2" fmla="*/ 4946650 w 4946650"/>
              <a:gd name="connsiteY2" fmla="*/ 4909692 h 4919852"/>
              <a:gd name="connsiteX3" fmla="*/ 0 w 4946650"/>
              <a:gd name="connsiteY3" fmla="*/ 4919852 h 4919852"/>
              <a:gd name="connsiteX4" fmla="*/ 1854585 w 4946650"/>
              <a:gd name="connsiteY4" fmla="*/ 36080 h 4919852"/>
              <a:gd name="connsiteX0" fmla="*/ 1854585 w 4946650"/>
              <a:gd name="connsiteY0" fmla="*/ 0 h 4883772"/>
              <a:gd name="connsiteX1" fmla="*/ 4946650 w 4946650"/>
              <a:gd name="connsiteY1" fmla="*/ 0 h 4883772"/>
              <a:gd name="connsiteX2" fmla="*/ 4946650 w 4946650"/>
              <a:gd name="connsiteY2" fmla="*/ 4873612 h 4883772"/>
              <a:gd name="connsiteX3" fmla="*/ 0 w 4946650"/>
              <a:gd name="connsiteY3" fmla="*/ 4883772 h 4883772"/>
              <a:gd name="connsiteX4" fmla="*/ 1854585 w 4946650"/>
              <a:gd name="connsiteY4" fmla="*/ 0 h 4883772"/>
              <a:gd name="connsiteX0" fmla="*/ 1854585 w 4946650"/>
              <a:gd name="connsiteY0" fmla="*/ 0 h 4883772"/>
              <a:gd name="connsiteX1" fmla="*/ 4946650 w 4946650"/>
              <a:gd name="connsiteY1" fmla="*/ 0 h 4883772"/>
              <a:gd name="connsiteX2" fmla="*/ 3016382 w 4946650"/>
              <a:gd name="connsiteY2" fmla="*/ 4873612 h 4883772"/>
              <a:gd name="connsiteX3" fmla="*/ 0 w 4946650"/>
              <a:gd name="connsiteY3" fmla="*/ 4883772 h 4883772"/>
              <a:gd name="connsiteX4" fmla="*/ 1854585 w 4946650"/>
              <a:gd name="connsiteY4" fmla="*/ 0 h 4883772"/>
              <a:gd name="connsiteX0" fmla="*/ 1854585 w 4857207"/>
              <a:gd name="connsiteY0" fmla="*/ 3889 h 4887661"/>
              <a:gd name="connsiteX1" fmla="*/ 4857207 w 4857207"/>
              <a:gd name="connsiteY1" fmla="*/ 0 h 4887661"/>
              <a:gd name="connsiteX2" fmla="*/ 3016382 w 4857207"/>
              <a:gd name="connsiteY2" fmla="*/ 4877501 h 4887661"/>
              <a:gd name="connsiteX3" fmla="*/ 0 w 4857207"/>
              <a:gd name="connsiteY3" fmla="*/ 4887661 h 4887661"/>
              <a:gd name="connsiteX4" fmla="*/ 1854585 w 4857207"/>
              <a:gd name="connsiteY4" fmla="*/ 3889 h 4887661"/>
              <a:gd name="connsiteX0" fmla="*/ 1854585 w 4857207"/>
              <a:gd name="connsiteY0" fmla="*/ 3889 h 4887661"/>
              <a:gd name="connsiteX1" fmla="*/ 4857207 w 4857207"/>
              <a:gd name="connsiteY1" fmla="*/ 0 h 4887661"/>
              <a:gd name="connsiteX2" fmla="*/ 3008605 w 4857207"/>
              <a:gd name="connsiteY2" fmla="*/ 4881390 h 4887661"/>
              <a:gd name="connsiteX3" fmla="*/ 0 w 4857207"/>
              <a:gd name="connsiteY3" fmla="*/ 4887661 h 4887661"/>
              <a:gd name="connsiteX4" fmla="*/ 1854585 w 4857207"/>
              <a:gd name="connsiteY4" fmla="*/ 3889 h 4887661"/>
              <a:gd name="connsiteX0" fmla="*/ 1854585 w 4857207"/>
              <a:gd name="connsiteY0" fmla="*/ 3889 h 4883772"/>
              <a:gd name="connsiteX1" fmla="*/ 4857207 w 4857207"/>
              <a:gd name="connsiteY1" fmla="*/ 0 h 4883772"/>
              <a:gd name="connsiteX2" fmla="*/ 3008605 w 4857207"/>
              <a:gd name="connsiteY2" fmla="*/ 4881390 h 4883772"/>
              <a:gd name="connsiteX3" fmla="*/ 0 w 4857207"/>
              <a:gd name="connsiteY3" fmla="*/ 4883772 h 4883772"/>
              <a:gd name="connsiteX4" fmla="*/ 1854585 w 4857207"/>
              <a:gd name="connsiteY4" fmla="*/ 3889 h 4883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57207" h="4883772">
                <a:moveTo>
                  <a:pt x="1854585" y="3889"/>
                </a:moveTo>
                <a:lnTo>
                  <a:pt x="4857207" y="0"/>
                </a:lnTo>
                <a:lnTo>
                  <a:pt x="3008605" y="4881390"/>
                </a:lnTo>
                <a:lnTo>
                  <a:pt x="0" y="4883772"/>
                </a:lnTo>
                <a:lnTo>
                  <a:pt x="1854585" y="388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13" name="Data 27">
            <a:extLst>
              <a:ext uri="{FF2B5EF4-FFF2-40B4-BE49-F238E27FC236}">
                <a16:creationId xmlns:a16="http://schemas.microsoft.com/office/drawing/2014/main" id="{55AFEE31-0099-C444-9957-4E8C9F5CB0DF}"/>
              </a:ext>
            </a:extLst>
          </p:cNvPr>
          <p:cNvSpPr/>
          <p:nvPr userDrawn="1"/>
        </p:nvSpPr>
        <p:spPr>
          <a:xfrm rot="10800000">
            <a:off x="2807256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3263ED-9226-E840-A4AB-43E8005E91B8}"/>
              </a:ext>
            </a:extLst>
          </p:cNvPr>
          <p:cNvSpPr/>
          <p:nvPr userDrawn="1"/>
        </p:nvSpPr>
        <p:spPr>
          <a:xfrm>
            <a:off x="0" y="239165"/>
            <a:ext cx="8120185" cy="603858"/>
          </a:xfrm>
          <a:prstGeom prst="rect">
            <a:avLst/>
          </a:pr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2A02F11-845D-A54E-83F9-D632EA4272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5350" y="0"/>
            <a:ext cx="4946650" cy="6868160"/>
          </a:xfrm>
          <a:custGeom>
            <a:avLst/>
            <a:gdLst>
              <a:gd name="connsiteX0" fmla="*/ 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0 w 4997450"/>
              <a:gd name="connsiteY4" fmla="*/ 0 h 6858000"/>
              <a:gd name="connsiteX0" fmla="*/ 2672080 w 4997450"/>
              <a:gd name="connsiteY0" fmla="*/ 0 h 6858000"/>
              <a:gd name="connsiteX1" fmla="*/ 4997450 w 4997450"/>
              <a:gd name="connsiteY1" fmla="*/ 0 h 6858000"/>
              <a:gd name="connsiteX2" fmla="*/ 4997450 w 4997450"/>
              <a:gd name="connsiteY2" fmla="*/ 6858000 h 6858000"/>
              <a:gd name="connsiteX3" fmla="*/ 0 w 4997450"/>
              <a:gd name="connsiteY3" fmla="*/ 6858000 h 6858000"/>
              <a:gd name="connsiteX4" fmla="*/ 2672080 w 4997450"/>
              <a:gd name="connsiteY4" fmla="*/ 0 h 6858000"/>
              <a:gd name="connsiteX0" fmla="*/ 2621280 w 4946650"/>
              <a:gd name="connsiteY0" fmla="*/ 0 h 6868160"/>
              <a:gd name="connsiteX1" fmla="*/ 4946650 w 4946650"/>
              <a:gd name="connsiteY1" fmla="*/ 0 h 6868160"/>
              <a:gd name="connsiteX2" fmla="*/ 4946650 w 4946650"/>
              <a:gd name="connsiteY2" fmla="*/ 6858000 h 6868160"/>
              <a:gd name="connsiteX3" fmla="*/ 0 w 4946650"/>
              <a:gd name="connsiteY3" fmla="*/ 6868160 h 6868160"/>
              <a:gd name="connsiteX4" fmla="*/ 2621280 w 4946650"/>
              <a:gd name="connsiteY4" fmla="*/ 0 h 6868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46650" h="6868160">
                <a:moveTo>
                  <a:pt x="2621280" y="0"/>
                </a:moveTo>
                <a:lnTo>
                  <a:pt x="4946650" y="0"/>
                </a:lnTo>
                <a:lnTo>
                  <a:pt x="4946650" y="6858000"/>
                </a:lnTo>
                <a:lnTo>
                  <a:pt x="0" y="6868160"/>
                </a:lnTo>
                <a:lnTo>
                  <a:pt x="262128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093" y="284745"/>
            <a:ext cx="4593487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16" name="Picture 15" descr="Shape&#10;&#10;Description automatically generated with medium confidence">
            <a:extLst>
              <a:ext uri="{FF2B5EF4-FFF2-40B4-BE49-F238E27FC236}">
                <a16:creationId xmlns:a16="http://schemas.microsoft.com/office/drawing/2014/main" id="{28B873FF-4FA5-A94F-B642-772B1634B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F11554EB-598A-AC45-964A-02F863821C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472" y="1082189"/>
            <a:ext cx="4330542" cy="5259142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6949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2 w 10000"/>
              <a:gd name="connsiteY0" fmla="*/ 98 h 10000"/>
              <a:gd name="connsiteX1" fmla="*/ 10000 w 10000"/>
              <a:gd name="connsiteY1" fmla="*/ 0 h 10000"/>
              <a:gd name="connsiteX2" fmla="*/ 6949 w 10000"/>
              <a:gd name="connsiteY2" fmla="*/ 10000 h 10000"/>
              <a:gd name="connsiteX3" fmla="*/ 0 w 10000"/>
              <a:gd name="connsiteY3" fmla="*/ 10000 h 10000"/>
              <a:gd name="connsiteX4" fmla="*/ 22 w 10000"/>
              <a:gd name="connsiteY4" fmla="*/ 98 h 10000"/>
              <a:gd name="connsiteX0" fmla="*/ 22 w 12462"/>
              <a:gd name="connsiteY0" fmla="*/ 98 h 10000"/>
              <a:gd name="connsiteX1" fmla="*/ 12462 w 12462"/>
              <a:gd name="connsiteY1" fmla="*/ 0 h 10000"/>
              <a:gd name="connsiteX2" fmla="*/ 6949 w 12462"/>
              <a:gd name="connsiteY2" fmla="*/ 10000 h 10000"/>
              <a:gd name="connsiteX3" fmla="*/ 0 w 12462"/>
              <a:gd name="connsiteY3" fmla="*/ 10000 h 10000"/>
              <a:gd name="connsiteX4" fmla="*/ 22 w 12462"/>
              <a:gd name="connsiteY4" fmla="*/ 98 h 10000"/>
              <a:gd name="connsiteX0" fmla="*/ 22 w 12462"/>
              <a:gd name="connsiteY0" fmla="*/ 9 h 10000"/>
              <a:gd name="connsiteX1" fmla="*/ 12462 w 12462"/>
              <a:gd name="connsiteY1" fmla="*/ 0 h 10000"/>
              <a:gd name="connsiteX2" fmla="*/ 6949 w 12462"/>
              <a:gd name="connsiteY2" fmla="*/ 10000 h 10000"/>
              <a:gd name="connsiteX3" fmla="*/ 0 w 12462"/>
              <a:gd name="connsiteY3" fmla="*/ 10000 h 10000"/>
              <a:gd name="connsiteX4" fmla="*/ 22 w 12462"/>
              <a:gd name="connsiteY4" fmla="*/ 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462" h="10000">
                <a:moveTo>
                  <a:pt x="22" y="9"/>
                </a:moveTo>
                <a:lnTo>
                  <a:pt x="12462" y="0"/>
                </a:lnTo>
                <a:lnTo>
                  <a:pt x="6949" y="10000"/>
                </a:lnTo>
                <a:lnTo>
                  <a:pt x="0" y="10000"/>
                </a:lnTo>
                <a:cubicBezTo>
                  <a:pt x="7" y="6699"/>
                  <a:pt x="15" y="3310"/>
                  <a:pt x="22" y="9"/>
                </a:cubicBezTo>
                <a:close/>
              </a:path>
            </a:pathLst>
          </a:custGeom>
          <a:noFill/>
          <a:ln>
            <a:noFill/>
          </a:ln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FC849159-5654-F344-9B17-B50755425B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960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- 2 Right Rec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a 19">
            <a:extLst>
              <a:ext uri="{FF2B5EF4-FFF2-40B4-BE49-F238E27FC236}">
                <a16:creationId xmlns:a16="http://schemas.microsoft.com/office/drawing/2014/main" id="{5554E44D-005D-DB45-8EF1-7E5DC5B07DCD}"/>
              </a:ext>
            </a:extLst>
          </p:cNvPr>
          <p:cNvSpPr/>
          <p:nvPr userDrawn="1"/>
        </p:nvSpPr>
        <p:spPr>
          <a:xfrm>
            <a:off x="7246429" y="0"/>
            <a:ext cx="4945571" cy="685800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8000"/>
              <a:gd name="connsiteY0" fmla="*/ 10000 h 10000"/>
              <a:gd name="connsiteX1" fmla="*/ 2000 w 8000"/>
              <a:gd name="connsiteY1" fmla="*/ 0 h 10000"/>
              <a:gd name="connsiteX2" fmla="*/ 6138 w 8000"/>
              <a:gd name="connsiteY2" fmla="*/ 0 h 10000"/>
              <a:gd name="connsiteX3" fmla="*/ 8000 w 8000"/>
              <a:gd name="connsiteY3" fmla="*/ 10000 h 10000"/>
              <a:gd name="connsiteX4" fmla="*/ 0 w 8000"/>
              <a:gd name="connsiteY4" fmla="*/ 10000 h 10000"/>
              <a:gd name="connsiteX0" fmla="*/ 0 w 10000"/>
              <a:gd name="connsiteY0" fmla="*/ 10000 h 10000"/>
              <a:gd name="connsiteX1" fmla="*/ 2500 w 10000"/>
              <a:gd name="connsiteY1" fmla="*/ 0 h 10000"/>
              <a:gd name="connsiteX2" fmla="*/ 5394 w 10000"/>
              <a:gd name="connsiteY2" fmla="*/ 14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500 w 10000"/>
              <a:gd name="connsiteY1" fmla="*/ 0 h 10000"/>
              <a:gd name="connsiteX2" fmla="*/ 7207 w 10000"/>
              <a:gd name="connsiteY2" fmla="*/ 14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0" fmla="*/ 0 w 7254"/>
              <a:gd name="connsiteY0" fmla="*/ 10000 h 10000"/>
              <a:gd name="connsiteX1" fmla="*/ 2500 w 7254"/>
              <a:gd name="connsiteY1" fmla="*/ 0 h 10000"/>
              <a:gd name="connsiteX2" fmla="*/ 7207 w 7254"/>
              <a:gd name="connsiteY2" fmla="*/ 14 h 10000"/>
              <a:gd name="connsiteX3" fmla="*/ 7254 w 7254"/>
              <a:gd name="connsiteY3" fmla="*/ 10000 h 10000"/>
              <a:gd name="connsiteX4" fmla="*/ 0 w 7254"/>
              <a:gd name="connsiteY4" fmla="*/ 10000 h 10000"/>
              <a:gd name="connsiteX0" fmla="*/ 0 w 9935"/>
              <a:gd name="connsiteY0" fmla="*/ 10000 h 10000"/>
              <a:gd name="connsiteX1" fmla="*/ 3446 w 9935"/>
              <a:gd name="connsiteY1" fmla="*/ 0 h 10000"/>
              <a:gd name="connsiteX2" fmla="*/ 9935 w 9935"/>
              <a:gd name="connsiteY2" fmla="*/ 14 h 10000"/>
              <a:gd name="connsiteX3" fmla="*/ 9085 w 9935"/>
              <a:gd name="connsiteY3" fmla="*/ 9986 h 10000"/>
              <a:gd name="connsiteX4" fmla="*/ 0 w 9935"/>
              <a:gd name="connsiteY4" fmla="*/ 10000 h 10000"/>
              <a:gd name="connsiteX0" fmla="*/ 0 w 10016"/>
              <a:gd name="connsiteY0" fmla="*/ 10000 h 10000"/>
              <a:gd name="connsiteX1" fmla="*/ 3469 w 10016"/>
              <a:gd name="connsiteY1" fmla="*/ 0 h 10000"/>
              <a:gd name="connsiteX2" fmla="*/ 10000 w 10016"/>
              <a:gd name="connsiteY2" fmla="*/ 14 h 10000"/>
              <a:gd name="connsiteX3" fmla="*/ 10016 w 10016"/>
              <a:gd name="connsiteY3" fmla="*/ 9986 h 10000"/>
              <a:gd name="connsiteX4" fmla="*/ 0 w 10016"/>
              <a:gd name="connsiteY4" fmla="*/ 10000 h 10000"/>
              <a:gd name="connsiteX0" fmla="*/ 0 w 12907"/>
              <a:gd name="connsiteY0" fmla="*/ 10011 h 10011"/>
              <a:gd name="connsiteX1" fmla="*/ 6360 w 12907"/>
              <a:gd name="connsiteY1" fmla="*/ 0 h 10011"/>
              <a:gd name="connsiteX2" fmla="*/ 12891 w 12907"/>
              <a:gd name="connsiteY2" fmla="*/ 14 h 10011"/>
              <a:gd name="connsiteX3" fmla="*/ 12907 w 12907"/>
              <a:gd name="connsiteY3" fmla="*/ 9986 h 10011"/>
              <a:gd name="connsiteX4" fmla="*/ 0 w 12907"/>
              <a:gd name="connsiteY4" fmla="*/ 10011 h 10011"/>
              <a:gd name="connsiteX0" fmla="*/ 0 w 13065"/>
              <a:gd name="connsiteY0" fmla="*/ 9989 h 9989"/>
              <a:gd name="connsiteX1" fmla="*/ 6518 w 13065"/>
              <a:gd name="connsiteY1" fmla="*/ 0 h 9989"/>
              <a:gd name="connsiteX2" fmla="*/ 13049 w 13065"/>
              <a:gd name="connsiteY2" fmla="*/ 14 h 9989"/>
              <a:gd name="connsiteX3" fmla="*/ 13065 w 13065"/>
              <a:gd name="connsiteY3" fmla="*/ 9986 h 9989"/>
              <a:gd name="connsiteX4" fmla="*/ 0 w 13065"/>
              <a:gd name="connsiteY4" fmla="*/ 9989 h 9989"/>
              <a:gd name="connsiteX0" fmla="*/ 0 w 10000"/>
              <a:gd name="connsiteY0" fmla="*/ 10005 h 10005"/>
              <a:gd name="connsiteX1" fmla="*/ 4989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  <a:gd name="connsiteX0" fmla="*/ 0 w 10000"/>
              <a:gd name="connsiteY0" fmla="*/ 10005 h 10005"/>
              <a:gd name="connsiteX1" fmla="*/ 5149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  <a:gd name="connsiteX0" fmla="*/ 0 w 10000"/>
              <a:gd name="connsiteY0" fmla="*/ 10005 h 10005"/>
              <a:gd name="connsiteX1" fmla="*/ 5256 w 10000"/>
              <a:gd name="connsiteY1" fmla="*/ 5 h 10005"/>
              <a:gd name="connsiteX2" fmla="*/ 9988 w 10000"/>
              <a:gd name="connsiteY2" fmla="*/ 0 h 10005"/>
              <a:gd name="connsiteX3" fmla="*/ 10000 w 10000"/>
              <a:gd name="connsiteY3" fmla="*/ 10002 h 10005"/>
              <a:gd name="connsiteX4" fmla="*/ 0 w 10000"/>
              <a:gd name="connsiteY4" fmla="*/ 10005 h 10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5">
                <a:moveTo>
                  <a:pt x="0" y="10005"/>
                </a:moveTo>
                <a:lnTo>
                  <a:pt x="5256" y="5"/>
                </a:lnTo>
                <a:lnTo>
                  <a:pt x="9988" y="0"/>
                </a:lnTo>
                <a:cubicBezTo>
                  <a:pt x="10005" y="3333"/>
                  <a:pt x="9983" y="6669"/>
                  <a:pt x="10000" y="10002"/>
                </a:cubicBezTo>
                <a:lnTo>
                  <a:pt x="0" y="10005"/>
                </a:lnTo>
                <a:close/>
              </a:path>
            </a:pathLst>
          </a:custGeom>
          <a:solidFill>
            <a:srgbClr val="276D93">
              <a:alpha val="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3263ED-9226-E840-A4AB-43E8005E91B8}"/>
              </a:ext>
            </a:extLst>
          </p:cNvPr>
          <p:cNvSpPr/>
          <p:nvPr userDrawn="1"/>
        </p:nvSpPr>
        <p:spPr>
          <a:xfrm>
            <a:off x="1" y="239165"/>
            <a:ext cx="9729216" cy="603858"/>
          </a:xfrm>
          <a:custGeom>
            <a:avLst/>
            <a:gdLst>
              <a:gd name="connsiteX0" fmla="*/ 0 w 9729216"/>
              <a:gd name="connsiteY0" fmla="*/ 0 h 603858"/>
              <a:gd name="connsiteX1" fmla="*/ 9729216 w 9729216"/>
              <a:gd name="connsiteY1" fmla="*/ 0 h 603858"/>
              <a:gd name="connsiteX2" fmla="*/ 9729216 w 9729216"/>
              <a:gd name="connsiteY2" fmla="*/ 603858 h 603858"/>
              <a:gd name="connsiteX3" fmla="*/ 0 w 9729216"/>
              <a:gd name="connsiteY3" fmla="*/ 603858 h 603858"/>
              <a:gd name="connsiteX4" fmla="*/ 0 w 9729216"/>
              <a:gd name="connsiteY4" fmla="*/ 0 h 603858"/>
              <a:gd name="connsiteX0" fmla="*/ 0 w 9729216"/>
              <a:gd name="connsiteY0" fmla="*/ 0 h 603858"/>
              <a:gd name="connsiteX1" fmla="*/ 9729216 w 9729216"/>
              <a:gd name="connsiteY1" fmla="*/ 0 h 603858"/>
              <a:gd name="connsiteX2" fmla="*/ 9500616 w 9729216"/>
              <a:gd name="connsiteY2" fmla="*/ 603858 h 603858"/>
              <a:gd name="connsiteX3" fmla="*/ 0 w 9729216"/>
              <a:gd name="connsiteY3" fmla="*/ 603858 h 603858"/>
              <a:gd name="connsiteX4" fmla="*/ 0 w 9729216"/>
              <a:gd name="connsiteY4" fmla="*/ 0 h 603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29216" h="603858">
                <a:moveTo>
                  <a:pt x="0" y="0"/>
                </a:moveTo>
                <a:lnTo>
                  <a:pt x="9729216" y="0"/>
                </a:lnTo>
                <a:lnTo>
                  <a:pt x="9500616" y="603858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8093" y="284745"/>
            <a:ext cx="8721075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16" name="Picture 15" descr="Shape&#10;&#10;Description automatically generated with medium confidence">
            <a:extLst>
              <a:ext uri="{FF2B5EF4-FFF2-40B4-BE49-F238E27FC236}">
                <a16:creationId xmlns:a16="http://schemas.microsoft.com/office/drawing/2014/main" id="{28B873FF-4FA5-A94F-B642-772B1634B8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17" name="Text Placeholder 25">
            <a:extLst>
              <a:ext uri="{FF2B5EF4-FFF2-40B4-BE49-F238E27FC236}">
                <a16:creationId xmlns:a16="http://schemas.microsoft.com/office/drawing/2014/main" id="{F11554EB-598A-AC45-964A-02F863821C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7471" y="1082189"/>
            <a:ext cx="6487533" cy="5259142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569BEDE-BCEC-2846-B2F0-392F0294599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144507" y="1080136"/>
            <a:ext cx="4699138" cy="250074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5">
            <a:extLst>
              <a:ext uri="{FF2B5EF4-FFF2-40B4-BE49-F238E27FC236}">
                <a16:creationId xmlns:a16="http://schemas.microsoft.com/office/drawing/2014/main" id="{3F2E6B16-2B97-B645-B22E-9970A64132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44507" y="3840585"/>
            <a:ext cx="4699138" cy="250074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2E17BC37-C54E-A64C-89A3-6774B5BA5B8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843654" y="6533919"/>
            <a:ext cx="348346" cy="226714"/>
          </a:xfrm>
        </p:spPr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162D76B-E36A-6746-B89E-FD685E42D7FB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ata 27">
            <a:extLst>
              <a:ext uri="{FF2B5EF4-FFF2-40B4-BE49-F238E27FC236}">
                <a16:creationId xmlns:a16="http://schemas.microsoft.com/office/drawing/2014/main" id="{3C6F6993-AEA4-734B-A8CA-1791510D3FB1}"/>
              </a:ext>
            </a:extLst>
          </p:cNvPr>
          <p:cNvSpPr/>
          <p:nvPr userDrawn="1"/>
        </p:nvSpPr>
        <p:spPr>
          <a:xfrm rot="10800000">
            <a:off x="7142885" y="-3424"/>
            <a:ext cx="2720705" cy="6868140"/>
          </a:xfrm>
          <a:custGeom>
            <a:avLst/>
            <a:gdLst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8000 w 10000"/>
              <a:gd name="connsiteY3" fmla="*/ 10000 h 10000"/>
              <a:gd name="connsiteX4" fmla="*/ 0 w 10000"/>
              <a:gd name="connsiteY4" fmla="*/ 10000 h 10000"/>
              <a:gd name="connsiteX0" fmla="*/ 0 w 10000"/>
              <a:gd name="connsiteY0" fmla="*/ 10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4876 w 10000"/>
              <a:gd name="connsiteY3" fmla="*/ 9982 h 10000"/>
              <a:gd name="connsiteX4" fmla="*/ 0 w 10000"/>
              <a:gd name="connsiteY4" fmla="*/ 10000 h 10000"/>
              <a:gd name="connsiteX0" fmla="*/ 2636 w 8000"/>
              <a:gd name="connsiteY0" fmla="*/ 9982 h 9982"/>
              <a:gd name="connsiteX1" fmla="*/ 0 w 8000"/>
              <a:gd name="connsiteY1" fmla="*/ 0 h 9982"/>
              <a:gd name="connsiteX2" fmla="*/ 8000 w 8000"/>
              <a:gd name="connsiteY2" fmla="*/ 0 h 9982"/>
              <a:gd name="connsiteX3" fmla="*/ 2876 w 8000"/>
              <a:gd name="connsiteY3" fmla="*/ 9982 h 9982"/>
              <a:gd name="connsiteX4" fmla="*/ 2636 w 8000"/>
              <a:gd name="connsiteY4" fmla="*/ 9982 h 9982"/>
              <a:gd name="connsiteX0" fmla="*/ 0 w 6705"/>
              <a:gd name="connsiteY0" fmla="*/ 10000 h 10000"/>
              <a:gd name="connsiteX1" fmla="*/ 6500 w 6705"/>
              <a:gd name="connsiteY1" fmla="*/ 0 h 10000"/>
              <a:gd name="connsiteX2" fmla="*/ 6705 w 6705"/>
              <a:gd name="connsiteY2" fmla="*/ 0 h 10000"/>
              <a:gd name="connsiteX3" fmla="*/ 300 w 6705"/>
              <a:gd name="connsiteY3" fmla="*/ 10000 h 10000"/>
              <a:gd name="connsiteX4" fmla="*/ 0 w 6705"/>
              <a:gd name="connsiteY4" fmla="*/ 10000 h 10000"/>
              <a:gd name="connsiteX0" fmla="*/ 0 w 10000"/>
              <a:gd name="connsiteY0" fmla="*/ 10000 h 10000"/>
              <a:gd name="connsiteX1" fmla="*/ 9694 w 10000"/>
              <a:gd name="connsiteY1" fmla="*/ 0 h 10000"/>
              <a:gd name="connsiteX2" fmla="*/ 10000 w 10000"/>
              <a:gd name="connsiteY2" fmla="*/ 0 h 10000"/>
              <a:gd name="connsiteX3" fmla="*/ 505 w 10000"/>
              <a:gd name="connsiteY3" fmla="*/ 9962 h 10000"/>
              <a:gd name="connsiteX4" fmla="*/ 0 w 10000"/>
              <a:gd name="connsiteY4" fmla="*/ 10000 h 10000"/>
              <a:gd name="connsiteX0" fmla="*/ 0 w 9942"/>
              <a:gd name="connsiteY0" fmla="*/ 9947 h 9962"/>
              <a:gd name="connsiteX1" fmla="*/ 9636 w 9942"/>
              <a:gd name="connsiteY1" fmla="*/ 0 h 9962"/>
              <a:gd name="connsiteX2" fmla="*/ 9942 w 9942"/>
              <a:gd name="connsiteY2" fmla="*/ 0 h 9962"/>
              <a:gd name="connsiteX3" fmla="*/ 447 w 9942"/>
              <a:gd name="connsiteY3" fmla="*/ 9962 h 9962"/>
              <a:gd name="connsiteX4" fmla="*/ 0 w 9942"/>
              <a:gd name="connsiteY4" fmla="*/ 9947 h 9962"/>
              <a:gd name="connsiteX0" fmla="*/ 0 w 10039"/>
              <a:gd name="connsiteY0" fmla="*/ 10023 h 10023"/>
              <a:gd name="connsiteX1" fmla="*/ 9731 w 10039"/>
              <a:gd name="connsiteY1" fmla="*/ 0 h 10023"/>
              <a:gd name="connsiteX2" fmla="*/ 10039 w 10039"/>
              <a:gd name="connsiteY2" fmla="*/ 0 h 10023"/>
              <a:gd name="connsiteX3" fmla="*/ 489 w 10039"/>
              <a:gd name="connsiteY3" fmla="*/ 10000 h 10023"/>
              <a:gd name="connsiteX4" fmla="*/ 0 w 10039"/>
              <a:gd name="connsiteY4" fmla="*/ 10023 h 10023"/>
              <a:gd name="connsiteX0" fmla="*/ 0 w 10039"/>
              <a:gd name="connsiteY0" fmla="*/ 10023 h 10028"/>
              <a:gd name="connsiteX1" fmla="*/ 9731 w 10039"/>
              <a:gd name="connsiteY1" fmla="*/ 0 h 10028"/>
              <a:gd name="connsiteX2" fmla="*/ 10039 w 10039"/>
              <a:gd name="connsiteY2" fmla="*/ 0 h 10028"/>
              <a:gd name="connsiteX3" fmla="*/ 477 w 10039"/>
              <a:gd name="connsiteY3" fmla="*/ 10028 h 10028"/>
              <a:gd name="connsiteX4" fmla="*/ 0 w 10039"/>
              <a:gd name="connsiteY4" fmla="*/ 10023 h 10028"/>
              <a:gd name="connsiteX0" fmla="*/ 0 w 10122"/>
              <a:gd name="connsiteY0" fmla="*/ 10028 h 10028"/>
              <a:gd name="connsiteX1" fmla="*/ 9814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  <a:gd name="connsiteX0" fmla="*/ 0 w 10122"/>
              <a:gd name="connsiteY0" fmla="*/ 10028 h 10028"/>
              <a:gd name="connsiteX1" fmla="*/ 9696 w 10122"/>
              <a:gd name="connsiteY1" fmla="*/ 0 h 10028"/>
              <a:gd name="connsiteX2" fmla="*/ 10122 w 10122"/>
              <a:gd name="connsiteY2" fmla="*/ 0 h 10028"/>
              <a:gd name="connsiteX3" fmla="*/ 560 w 10122"/>
              <a:gd name="connsiteY3" fmla="*/ 10028 h 10028"/>
              <a:gd name="connsiteX4" fmla="*/ 0 w 10122"/>
              <a:gd name="connsiteY4" fmla="*/ 10028 h 1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22" h="10028">
                <a:moveTo>
                  <a:pt x="0" y="10028"/>
                </a:moveTo>
                <a:lnTo>
                  <a:pt x="9696" y="0"/>
                </a:lnTo>
                <a:lnTo>
                  <a:pt x="10122" y="0"/>
                </a:lnTo>
                <a:lnTo>
                  <a:pt x="560" y="10028"/>
                </a:lnTo>
                <a:lnTo>
                  <a:pt x="0" y="1002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66469DD6-EE2E-9342-B4F6-A90AEC8E366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254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6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5">
            <a:extLst>
              <a:ext uri="{FF2B5EF4-FFF2-40B4-BE49-F238E27FC236}">
                <a16:creationId xmlns:a16="http://schemas.microsoft.com/office/drawing/2014/main" id="{FBA2EAAD-26F9-3342-9279-C0E36F7FEEF7}"/>
              </a:ext>
            </a:extLst>
          </p:cNvPr>
          <p:cNvSpPr/>
          <p:nvPr userDrawn="1"/>
        </p:nvSpPr>
        <p:spPr>
          <a:xfrm>
            <a:off x="-1" y="239165"/>
            <a:ext cx="12192001" cy="612650"/>
          </a:xfrm>
          <a:custGeom>
            <a:avLst/>
            <a:gdLst>
              <a:gd name="connsiteX0" fmla="*/ 0 w 12191999"/>
              <a:gd name="connsiteY0" fmla="*/ 0 h 603858"/>
              <a:gd name="connsiteX1" fmla="*/ 12191999 w 12191999"/>
              <a:gd name="connsiteY1" fmla="*/ 0 h 603858"/>
              <a:gd name="connsiteX2" fmla="*/ 12191999 w 12191999"/>
              <a:gd name="connsiteY2" fmla="*/ 603858 h 603858"/>
              <a:gd name="connsiteX3" fmla="*/ 0 w 12191999"/>
              <a:gd name="connsiteY3" fmla="*/ 603858 h 603858"/>
              <a:gd name="connsiteX4" fmla="*/ 0 w 12191999"/>
              <a:gd name="connsiteY4" fmla="*/ 0 h 603858"/>
              <a:gd name="connsiteX0" fmla="*/ 0 w 12191999"/>
              <a:gd name="connsiteY0" fmla="*/ 0 h 612650"/>
              <a:gd name="connsiteX1" fmla="*/ 12191999 w 12191999"/>
              <a:gd name="connsiteY1" fmla="*/ 0 h 612650"/>
              <a:gd name="connsiteX2" fmla="*/ 9527929 w 12191999"/>
              <a:gd name="connsiteY2" fmla="*/ 612650 h 612650"/>
              <a:gd name="connsiteX3" fmla="*/ 0 w 12191999"/>
              <a:gd name="connsiteY3" fmla="*/ 603858 h 612650"/>
              <a:gd name="connsiteX4" fmla="*/ 0 w 12191999"/>
              <a:gd name="connsiteY4" fmla="*/ 0 h 612650"/>
              <a:gd name="connsiteX0" fmla="*/ 0 w 9809283"/>
              <a:gd name="connsiteY0" fmla="*/ 0 h 612650"/>
              <a:gd name="connsiteX1" fmla="*/ 9809283 w 9809283"/>
              <a:gd name="connsiteY1" fmla="*/ 0 h 612650"/>
              <a:gd name="connsiteX2" fmla="*/ 9527929 w 9809283"/>
              <a:gd name="connsiteY2" fmla="*/ 612650 h 612650"/>
              <a:gd name="connsiteX3" fmla="*/ 0 w 9809283"/>
              <a:gd name="connsiteY3" fmla="*/ 603858 h 612650"/>
              <a:gd name="connsiteX4" fmla="*/ 0 w 9809283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27929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9768008"/>
              <a:gd name="connsiteY0" fmla="*/ 0 h 612650"/>
              <a:gd name="connsiteX1" fmla="*/ 9768008 w 9768008"/>
              <a:gd name="connsiteY1" fmla="*/ 0 h 612650"/>
              <a:gd name="connsiteX2" fmla="*/ 9531104 w 9768008"/>
              <a:gd name="connsiteY2" fmla="*/ 612650 h 612650"/>
              <a:gd name="connsiteX3" fmla="*/ 0 w 9768008"/>
              <a:gd name="connsiteY3" fmla="*/ 603858 h 612650"/>
              <a:gd name="connsiteX4" fmla="*/ 0 w 9768008"/>
              <a:gd name="connsiteY4" fmla="*/ 0 h 612650"/>
              <a:gd name="connsiteX0" fmla="*/ 0 w 12222052"/>
              <a:gd name="connsiteY0" fmla="*/ 0 h 612650"/>
              <a:gd name="connsiteX1" fmla="*/ 9768008 w 12222052"/>
              <a:gd name="connsiteY1" fmla="*/ 0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222052"/>
              <a:gd name="connsiteY0" fmla="*/ 0 h 612650"/>
              <a:gd name="connsiteX1" fmla="*/ 12197700 w 12222052"/>
              <a:gd name="connsiteY1" fmla="*/ 13063 h 612650"/>
              <a:gd name="connsiteX2" fmla="*/ 12222052 w 12222052"/>
              <a:gd name="connsiteY2" fmla="*/ 612650 h 612650"/>
              <a:gd name="connsiteX3" fmla="*/ 0 w 12222052"/>
              <a:gd name="connsiteY3" fmla="*/ 603858 h 612650"/>
              <a:gd name="connsiteX4" fmla="*/ 0 w 12222052"/>
              <a:gd name="connsiteY4" fmla="*/ 0 h 612650"/>
              <a:gd name="connsiteX0" fmla="*/ 0 w 12199827"/>
              <a:gd name="connsiteY0" fmla="*/ 0 h 612650"/>
              <a:gd name="connsiteX1" fmla="*/ 12197700 w 12199827"/>
              <a:gd name="connsiteY1" fmla="*/ 13063 h 612650"/>
              <a:gd name="connsiteX2" fmla="*/ 12199827 w 12199827"/>
              <a:gd name="connsiteY2" fmla="*/ 612650 h 612650"/>
              <a:gd name="connsiteX3" fmla="*/ 0 w 12199827"/>
              <a:gd name="connsiteY3" fmla="*/ 603858 h 612650"/>
              <a:gd name="connsiteX4" fmla="*/ 0 w 12199827"/>
              <a:gd name="connsiteY4" fmla="*/ 0 h 61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9827" h="612650">
                <a:moveTo>
                  <a:pt x="0" y="0"/>
                </a:moveTo>
                <a:lnTo>
                  <a:pt x="12197700" y="13063"/>
                </a:lnTo>
                <a:lnTo>
                  <a:pt x="12199827" y="612650"/>
                </a:lnTo>
                <a:lnTo>
                  <a:pt x="0" y="603858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7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57EB25E3-E395-4042-95DD-8DD7640EA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27217" y="1084468"/>
            <a:ext cx="5476350" cy="5202031"/>
          </a:xfrm>
        </p:spPr>
        <p:txBody>
          <a:bodyPr>
            <a:normAutofit/>
          </a:bodyPr>
          <a:lstStyle>
            <a:lvl1pPr marL="0" indent="0"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FC30CA54-8C44-ED4D-8CAF-670D251C09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7471" y="1084468"/>
            <a:ext cx="5476350" cy="5202031"/>
          </a:xfrm>
        </p:spPr>
        <p:txBody>
          <a:bodyPr>
            <a:normAutofit/>
          </a:bodyPr>
          <a:lstStyle>
            <a:lvl1pPr marL="0" indent="0">
              <a:buNone/>
              <a:defRPr sz="1800" b="0" i="0" spc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C4DA35-6ADA-FC42-9061-D0CDF420C75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AD8DFF5-6552-6646-8E0A-76DADA9A0076}"/>
              </a:ext>
            </a:extLst>
          </p:cNvPr>
          <p:cNvCxnSpPr>
            <a:cxnSpLocks/>
          </p:cNvCxnSpPr>
          <p:nvPr userDrawn="1"/>
        </p:nvCxnSpPr>
        <p:spPr>
          <a:xfrm>
            <a:off x="11845668" y="6525907"/>
            <a:ext cx="0" cy="242738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Shape&#10;&#10;Description automatically generated with medium confidence">
            <a:extLst>
              <a:ext uri="{FF2B5EF4-FFF2-40B4-BE49-F238E27FC236}">
                <a16:creationId xmlns:a16="http://schemas.microsoft.com/office/drawing/2014/main" id="{EBE3F22A-3FA7-C24B-8541-C1922161B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37" y="387074"/>
            <a:ext cx="274156" cy="30804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1DF786B7-B526-B448-A6B1-24E8168F65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8093" y="284745"/>
            <a:ext cx="11245474" cy="5126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Page Title</a:t>
            </a:r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9B8FD80B-1AF1-9E45-A984-A1ADDA8473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" y="6517895"/>
            <a:ext cx="1419497" cy="2587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7749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4C1188-A7F2-432D-82E7-E24FB19E3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33236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344" imgH="344" progId="TCLayout.ActiveDocument.1">
                  <p:embed/>
                </p:oleObj>
              </mc:Choice>
              <mc:Fallback>
                <p:oleObj name="think-cell Slide" r:id="rId21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4C1188-A7F2-432D-82E7-E24FB19E3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22E9016-AE1B-384C-A9BB-B26B8DB845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" y="0"/>
            <a:ext cx="1218838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5F3A7C0-4893-D443-97BF-8D0482615FDE}"/>
              </a:ext>
            </a:extLst>
          </p:cNvPr>
          <p:cNvSpPr/>
          <p:nvPr userDrawn="1"/>
        </p:nvSpPr>
        <p:spPr>
          <a:xfrm rot="10800000">
            <a:off x="-10" y="0"/>
            <a:ext cx="8009802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>
                  <a:alpha val="50000"/>
                </a:schemeClr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1C21F6-E4EC-124E-91AF-68969B098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938" y="269217"/>
            <a:ext cx="11513716" cy="5126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18E8DA-570D-E84A-9BE4-04889E2342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9938" y="885082"/>
            <a:ext cx="11513716" cy="54261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71C24-9FD6-7C42-A226-278CD046BE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43654" y="6533919"/>
            <a:ext cx="34834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C62BEC2-EEC9-43CB-889D-96305E03A1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676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9" r:id="rId1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/>
        <a:buNone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2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50A1E-C974-438E-8DA9-76EEB8B881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38371" y="3429000"/>
            <a:ext cx="4819012" cy="1628775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en-US" sz="2800" b="1" dirty="0">
                <a:latin typeface="Arial"/>
                <a:cs typeface="Arial"/>
              </a:rPr>
              <a:t>EHS&amp;S Monthly Recognition</a:t>
            </a:r>
          </a:p>
          <a:p>
            <a:pPr algn="ctr"/>
            <a:r>
              <a:rPr lang="en-US" sz="2800" b="1" dirty="0">
                <a:latin typeface="Arial"/>
                <a:cs typeface="Arial"/>
              </a:rPr>
              <a:t>JULY 2023</a:t>
            </a:r>
            <a:endParaRPr lang="en-US" sz="2800" b="1" dirty="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17E28F9C-DD75-4838-98BC-7B18C84449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368" y="5290237"/>
            <a:ext cx="1218799" cy="1216255"/>
          </a:xfrm>
          <a:prstGeom prst="rect">
            <a:avLst/>
          </a:prstGeom>
          <a:effectLst>
            <a:outerShdw blurRad="203274" dir="5400000" sx="104711" sy="104711" algn="t" rotWithShape="0">
              <a:prstClr val="black">
                <a:alpha val="31008"/>
              </a:prstClr>
            </a:outerShdw>
          </a:effectLst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BA941CDB-6D9E-46E1-9F4B-D31341570015}"/>
              </a:ext>
            </a:extLst>
          </p:cNvPr>
          <p:cNvSpPr/>
          <p:nvPr/>
        </p:nvSpPr>
        <p:spPr>
          <a:xfrm>
            <a:off x="8827856" y="5385151"/>
            <a:ext cx="1040044" cy="1026425"/>
          </a:xfrm>
          <a:prstGeom prst="ellipse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6000000" scaled="0"/>
          </a:gradFill>
          <a:ln>
            <a:noFill/>
          </a:ln>
          <a:effectLst>
            <a:innerShdw blurRad="63500" dist="50800" dir="16200000">
              <a:prstClr val="black">
                <a:alpha val="34391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0F50ACE2-1B68-4D80-BD1B-908A03DB510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1249" y="5509705"/>
            <a:ext cx="693257" cy="777315"/>
          </a:xfrm>
          <a:prstGeom prst="rect">
            <a:avLst/>
          </a:prstGeom>
          <a:effectLst/>
        </p:spPr>
      </p:pic>
      <p:pic>
        <p:nvPicPr>
          <p:cNvPr id="21" name="Picture Placeholder 20" descr="A person standing next to a machine&#10;&#10;Description automatically generated">
            <a:extLst>
              <a:ext uri="{FF2B5EF4-FFF2-40B4-BE49-F238E27FC236}">
                <a16:creationId xmlns:a16="http://schemas.microsoft.com/office/drawing/2014/main" id="{C9046104-4A17-B4E9-7D68-FAC24091488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25" r="97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69520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859823-597C-4661-8305-492683555E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62BEC2-EEC9-43CB-889D-96305E03A1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0270B8A-B95C-4CE2-AF2E-CA5168A184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b="1" dirty="0">
                <a:latin typeface="+mn-lt"/>
                <a:cs typeface="Arial" panose="020B0604020202020204" pitchFamily="34" charset="0"/>
              </a:rPr>
              <a:t>Background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FD0B53C8-6120-4306-BAC7-C3C9B25A9C6B}"/>
              </a:ext>
            </a:extLst>
          </p:cNvPr>
          <p:cNvSpPr/>
          <p:nvPr/>
        </p:nvSpPr>
        <p:spPr>
          <a:xfrm>
            <a:off x="10121900" y="6173796"/>
            <a:ext cx="656100" cy="639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Slide Number Placeholder 3">
            <a:extLst>
              <a:ext uri="{FF2B5EF4-FFF2-40B4-BE49-F238E27FC236}">
                <a16:creationId xmlns:a16="http://schemas.microsoft.com/office/drawing/2014/main" id="{AF6BABAC-95D1-4B98-963A-383B79061684}"/>
              </a:ext>
            </a:extLst>
          </p:cNvPr>
          <p:cNvSpPr txBox="1">
            <a:spLocks/>
          </p:cNvSpPr>
          <p:nvPr/>
        </p:nvSpPr>
        <p:spPr>
          <a:xfrm>
            <a:off x="11843654" y="6533919"/>
            <a:ext cx="348346" cy="2267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62BEC2-EEC9-43CB-889D-96305E03A13C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3D75D183-4620-4A95-8FFB-F744F365865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244" y="159167"/>
            <a:ext cx="976532" cy="65694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4C0707F5-737E-7E65-C527-2733DD31AC26}"/>
              </a:ext>
            </a:extLst>
          </p:cNvPr>
          <p:cNvSpPr txBox="1"/>
          <p:nvPr/>
        </p:nvSpPr>
        <p:spPr>
          <a:xfrm>
            <a:off x="671093" y="1068301"/>
            <a:ext cx="2789397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June 20</a:t>
            </a:r>
            <a:r>
              <a:rPr lang="en-US" sz="1800" b="1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ichard Simmons conducted audiometric testing in the Spokane plant and found three areas that had a TWA above 90 dBa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June 21</a:t>
            </a:r>
            <a:r>
              <a:rPr lang="en-US" b="1" baseline="30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pokane started working on ways to reduce sound in the plant. 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xing air leaks and building enclosures for all of the saws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CAEDB6-71F9-030C-5B83-F6B7E4AB57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5629" y="816107"/>
            <a:ext cx="7058025" cy="24955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E7208FF-CD06-0A3C-F9F3-8543D2F266EA}"/>
              </a:ext>
            </a:extLst>
          </p:cNvPr>
          <p:cNvSpPr txBox="1"/>
          <p:nvPr/>
        </p:nvSpPr>
        <p:spPr>
          <a:xfrm>
            <a:off x="5195468" y="3546343"/>
            <a:ext cx="574377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 of our saws have open grate like guarding and easily removed covers.  They protect someone from inserting a finger but do not block any noise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827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0"/>
    </mc:Choice>
    <mc:Fallback xmlns="">
      <p:transition advTm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612112C7-B2C6-97B3-B6DD-07DF80D6E04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8512603" y="923022"/>
            <a:ext cx="3331051" cy="5214937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8ED28-4161-D2DD-8310-B20C3899E6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F3999C2-7852-6539-FA12-AC0F5AF84C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closures</a:t>
            </a:r>
          </a:p>
        </p:txBody>
      </p:sp>
      <p:pic>
        <p:nvPicPr>
          <p:cNvPr id="6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C6FAB3C6-A3AB-A9DA-4A1F-27414044C87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244" y="159167"/>
            <a:ext cx="976532" cy="65694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540B37-CA91-BE3E-F6D5-5432D0D183FB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477838" y="1084263"/>
            <a:ext cx="762971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rrell Dawson A newer technician to CBB was tasked to make encasements for all the saws.  He made templates of all the saws enclosures and </a:t>
            </a:r>
            <a:r>
              <a:rPr kumimoji="0" lang="en-US" sz="2000" i="0" u="none" strike="noStrike" kern="1200" cap="none" spc="0" normalizeH="0" baseline="0" noProof="0">
                <a:ln>
                  <a:noFill/>
                </a:ln>
                <a:solidFill>
                  <a:schemeClr val="accent6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n built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em on swing shift.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chemeClr val="accent6">
                  <a:lumMod val="10000"/>
                </a:schemeClr>
              </a:solidFill>
              <a:latin typeface="Arial"/>
              <a:cs typeface="Arial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accent6">
                    <a:lumMod val="10000"/>
                  </a:schemeClr>
                </a:solidFill>
                <a:latin typeface="Arial"/>
                <a:cs typeface="Arial"/>
              </a:rPr>
              <a:t>We used plywood for now and lined the inside of them with dynamat, foam and or felt.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10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10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AA6379B-9246-A105-1B45-779F13B68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4055" y="3242359"/>
            <a:ext cx="3737344" cy="2895600"/>
          </a:xfrm>
          <a:prstGeom prst="rect">
            <a:avLst/>
          </a:prstGeom>
        </p:spPr>
      </p:pic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187D8BB-B71D-7D65-B028-B05BAD09D3CB}"/>
              </a:ext>
            </a:extLst>
          </p:cNvPr>
          <p:cNvSpPr txBox="1">
            <a:spLocks/>
          </p:cNvSpPr>
          <p:nvPr/>
        </p:nvSpPr>
        <p:spPr>
          <a:xfrm>
            <a:off x="477838" y="3252794"/>
            <a:ext cx="4037012" cy="2862322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None/>
              <a:defRPr sz="1800" b="0" i="0" kern="1200" spc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None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FontTx/>
              <a:buNone/>
              <a:defRPr/>
            </a:pPr>
            <a:r>
              <a:rPr lang="en-US" sz="2000" dirty="0">
                <a:solidFill>
                  <a:schemeClr val="accent6">
                    <a:lumMod val="10000"/>
                  </a:schemeClr>
                </a:solidFill>
                <a:latin typeface="Arial"/>
                <a:cs typeface="Arial"/>
              </a:rPr>
              <a:t>Like STC (sound transmission windows) we take advantage of using two materials of different thickness to reduce </a:t>
            </a:r>
            <a:r>
              <a:rPr lang="en-US" sz="2000" i="0" dirty="0">
                <a:solidFill>
                  <a:schemeClr val="accent6">
                    <a:lumMod val="10000"/>
                  </a:schemeClr>
                </a:solidFill>
                <a:effectLst/>
                <a:latin typeface="Arial" panose="020B0604020202020204" pitchFamily="34" charset="0"/>
              </a:rPr>
              <a:t>frequencies of sound transmission. </a:t>
            </a:r>
            <a:r>
              <a:rPr lang="en-US" sz="2000" dirty="0">
                <a:solidFill>
                  <a:schemeClr val="accent6">
                    <a:lumMod val="10000"/>
                  </a:schemeClr>
                </a:solidFill>
                <a:latin typeface="Arial"/>
                <a:cs typeface="Arial"/>
              </a:rPr>
              <a:t> </a:t>
            </a:r>
          </a:p>
          <a:p>
            <a:pPr>
              <a:spcBef>
                <a:spcPts val="0"/>
              </a:spcBef>
              <a:buFontTx/>
              <a:buNone/>
              <a:defRPr/>
            </a:pPr>
            <a:endParaRPr lang="en-US" sz="2000" dirty="0">
              <a:solidFill>
                <a:schemeClr val="accent6">
                  <a:lumMod val="10000"/>
                </a:schemeClr>
              </a:solidFill>
              <a:latin typeface="Arial"/>
              <a:cs typeface="Arial"/>
            </a:endParaRPr>
          </a:p>
          <a:p>
            <a:pPr>
              <a:spcBef>
                <a:spcPts val="0"/>
              </a:spcBef>
              <a:buFontTx/>
              <a:buNone/>
              <a:defRPr/>
            </a:pPr>
            <a:r>
              <a:rPr lang="en-US" sz="2000" dirty="0">
                <a:solidFill>
                  <a:schemeClr val="accent6">
                    <a:lumMod val="10000"/>
                  </a:schemeClr>
                </a:solidFill>
                <a:latin typeface="Arial"/>
                <a:cs typeface="Arial"/>
              </a:rPr>
              <a:t>The foam, felt, and dynamat act as further sound and vibration absorption. </a:t>
            </a:r>
            <a:endParaRPr lang="en-US" sz="2000" dirty="0">
              <a:solidFill>
                <a:schemeClr val="accent6">
                  <a:lumMod val="10000"/>
                </a:scheme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55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78C39A8-7E5A-B154-90C2-59179DBBA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B2DE6A-B719-474F-60E1-D3287C015B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C62BEC2-EEC9-43CB-889D-96305E03A13C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0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C84067BD-F3A9-EF91-1AA4-910F4F425CA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9244" y="159167"/>
            <a:ext cx="976532" cy="65694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D842FA6-1FD6-58FD-23B5-E51449F1553A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477838" y="1082675"/>
            <a:ext cx="348456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reduced the Avg dBa by 2-4 shop wide just building 3 enclosures. 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is task took two weeks it was completed on July 6</a:t>
            </a:r>
            <a:r>
              <a:rPr lang="en-US" sz="1800" b="1" baseline="30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st was relatively inexpensive.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5474A25-C10C-5CAF-2E78-8C2FE3DA7BBF}"/>
              </a:ext>
            </a:extLst>
          </p:cNvPr>
          <p:cNvSpPr txBox="1">
            <a:spLocks/>
          </p:cNvSpPr>
          <p:nvPr/>
        </p:nvSpPr>
        <p:spPr>
          <a:xfrm>
            <a:off x="3848098" y="898754"/>
            <a:ext cx="5467351" cy="6217087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l of materials-</a:t>
            </a: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SB – 7/16 inch 1 sheet per saw ……….. $19.18</a:t>
            </a:r>
          </a:p>
          <a:p>
            <a:pPr>
              <a:spcBef>
                <a:spcPts val="0"/>
              </a:spcBef>
            </a:pPr>
            <a:r>
              <a:rPr lang="en-US" i="0" dirty="0">
                <a:solidFill>
                  <a:schemeClr val="accent6">
                    <a:lumMod val="10000"/>
                  </a:schemeClr>
                </a:solidFill>
                <a:effectLst/>
                <a:latin typeface="+mn-lt"/>
              </a:rPr>
              <a:t>Sound Dead </a:t>
            </a:r>
            <a:r>
              <a:rPr lang="en-US" sz="1800" dirty="0">
                <a:solidFill>
                  <a:schemeClr val="accent6">
                    <a:lumMod val="10000"/>
                  </a:schemeClr>
                </a:solidFill>
                <a:latin typeface="+mn-lt"/>
                <a:cs typeface="Arial"/>
              </a:rPr>
              <a:t>dynamat 36sft per saw ……..$49</a:t>
            </a: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Flat head screws  (Each)    ………………..$.21</a:t>
            </a:r>
            <a:endParaRPr lang="en-US" i="0" dirty="0">
              <a:solidFill>
                <a:schemeClr val="accent6">
                  <a:lumMod val="10000"/>
                </a:schemeClr>
              </a:solidFill>
              <a:effectLst/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n-US" i="0" dirty="0">
                <a:solidFill>
                  <a:schemeClr val="accent6">
                    <a:lumMod val="10000"/>
                  </a:schemeClr>
                </a:solidFill>
                <a:effectLst/>
                <a:latin typeface="+mn-lt"/>
              </a:rPr>
              <a:t>Labor 4-5 hours per saw. </a:t>
            </a:r>
          </a:p>
          <a:p>
            <a:pPr>
              <a:spcBef>
                <a:spcPts val="0"/>
              </a:spcBef>
            </a:pPr>
            <a:endParaRPr lang="en-US" i="0" dirty="0">
              <a:solidFill>
                <a:schemeClr val="accent6">
                  <a:lumMod val="10000"/>
                </a:schemeClr>
              </a:solidFill>
              <a:effectLst/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n-US" i="0" dirty="0">
                <a:solidFill>
                  <a:schemeClr val="accent6">
                    <a:lumMod val="10000"/>
                  </a:schemeClr>
                </a:solidFill>
                <a:effectLst/>
                <a:latin typeface="+mn-lt"/>
              </a:rPr>
              <a:t>Each saw needed it’s o</a:t>
            </a: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wn template and fit to </a:t>
            </a: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ensure the covers did not </a:t>
            </a:r>
            <a:r>
              <a:rPr lang="en-US" i="0" dirty="0">
                <a:solidFill>
                  <a:schemeClr val="accent6">
                    <a:lumMod val="10000"/>
                  </a:schemeClr>
                </a:solidFill>
                <a:effectLst/>
                <a:latin typeface="+mn-lt"/>
              </a:rPr>
              <a:t>Interfere with the operation or pose other safety hazards.</a:t>
            </a:r>
          </a:p>
          <a:p>
            <a:pPr>
              <a:spcBef>
                <a:spcPts val="0"/>
              </a:spcBef>
            </a:pPr>
            <a:endParaRPr lang="en-US" dirty="0">
              <a:solidFill>
                <a:schemeClr val="accent6">
                  <a:lumMod val="10000"/>
                </a:schemeClr>
              </a:solidFill>
              <a:latin typeface="+mn-lt"/>
            </a:endParaRP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It has made a noticeable difference in the </a:t>
            </a: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Shop in reducing the noise exposure </a:t>
            </a:r>
          </a:p>
          <a:p>
            <a:pPr>
              <a:spcBef>
                <a:spcPts val="0"/>
              </a:spcBef>
            </a:pPr>
            <a:r>
              <a:rPr lang="en-US" dirty="0">
                <a:solidFill>
                  <a:schemeClr val="accent6">
                    <a:lumMod val="10000"/>
                  </a:schemeClr>
                </a:solidFill>
                <a:latin typeface="+mn-lt"/>
              </a:rPr>
              <a:t>  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 a Follow Up EHS visit by 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chard Simmons Emery Burger a sawyer 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the last 16 years expressed his 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titude for the help on this issue  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C816AD2-C180-8C2E-FC97-11A6A1C62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838" y="3791854"/>
            <a:ext cx="2541725" cy="2598208"/>
          </a:xfrm>
          <a:prstGeom prst="rect">
            <a:avLst/>
          </a:prstGeom>
        </p:spPr>
      </p:pic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06B9289-F9B6-3699-7485-604E3A7E3456}"/>
              </a:ext>
            </a:extLst>
          </p:cNvPr>
          <p:cNvSpPr txBox="1">
            <a:spLocks/>
          </p:cNvSpPr>
          <p:nvPr/>
        </p:nvSpPr>
        <p:spPr>
          <a:xfrm>
            <a:off x="8616558" y="3422522"/>
            <a:ext cx="3484561" cy="31393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/>
              <a:buChar char="•"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a more detailed process and run down Email </a:t>
            </a: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ephan Hopkins </a:t>
            </a: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ephan.Hopkins@cornerstone-bb.com</a:t>
            </a: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endParaRPr lang="en-US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0"/>
              </a:spcBef>
            </a:pP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594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BB Colors 2021">
      <a:dk1>
        <a:srgbClr val="58595B"/>
      </a:dk1>
      <a:lt1>
        <a:srgbClr val="FFFFFF"/>
      </a:lt1>
      <a:dk2>
        <a:srgbClr val="002C82"/>
      </a:dk2>
      <a:lt2>
        <a:srgbClr val="EFEFF0"/>
      </a:lt2>
      <a:accent1>
        <a:srgbClr val="002C82"/>
      </a:accent1>
      <a:accent2>
        <a:srgbClr val="80BC00"/>
      </a:accent2>
      <a:accent3>
        <a:srgbClr val="58595B"/>
      </a:accent3>
      <a:accent4>
        <a:srgbClr val="276D93"/>
      </a:accent4>
      <a:accent5>
        <a:srgbClr val="172A53"/>
      </a:accent5>
      <a:accent6>
        <a:srgbClr val="DCDDDE"/>
      </a:accent6>
      <a:hlink>
        <a:srgbClr val="002C82"/>
      </a:hlink>
      <a:folHlink>
        <a:srgbClr val="58595B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5AE3F64B1A6994C9D36C7A8211F8978" ma:contentTypeVersion="13" ma:contentTypeDescription="Create a new document." ma:contentTypeScope="" ma:versionID="906a2568a86d309a6f1b1a5ba7aa8773">
  <xsd:schema xmlns:xsd="http://www.w3.org/2001/XMLSchema" xmlns:xs="http://www.w3.org/2001/XMLSchema" xmlns:p="http://schemas.microsoft.com/office/2006/metadata/properties" xmlns:ns2="f00355b7-7d63-46c2-9042-3fc1cbf2918c" xmlns:ns3="b6250aa4-94b8-44f6-aee8-4b318aa26b8f" targetNamespace="http://schemas.microsoft.com/office/2006/metadata/properties" ma:root="true" ma:fieldsID="0df8ce9673a38312da20c32d89dc2d86" ns2:_="" ns3:_="">
    <xsd:import namespace="f00355b7-7d63-46c2-9042-3fc1cbf2918c"/>
    <xsd:import namespace="b6250aa4-94b8-44f6-aee8-4b318aa26b8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0355b7-7d63-46c2-9042-3fc1cbf291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250aa4-94b8-44f6-aee8-4b318aa26b8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1C85FB-C849-4D35-A9DD-937ED9E635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00355b7-7d63-46c2-9042-3fc1cbf2918c"/>
    <ds:schemaRef ds:uri="b6250aa4-94b8-44f6-aee8-4b318aa26b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B2186A-C5BF-4410-AC45-26D0E7DB397E}">
  <ds:schemaRefs>
    <ds:schemaRef ds:uri="http://purl.org/dc/elements/1.1/"/>
    <ds:schemaRef ds:uri="b6250aa4-94b8-44f6-aee8-4b318aa26b8f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f00355b7-7d63-46c2-9042-3fc1cbf2918c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241F677-CAF9-4176-AC8C-4CA6B6247D6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457</TotalTime>
  <Words>332</Words>
  <Application>Microsoft Office PowerPoint</Application>
  <PresentationFormat>Widescreen</PresentationFormat>
  <Paragraphs>61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Times New Roman</vt:lpstr>
      <vt:lpstr>1_Office Theme</vt:lpstr>
      <vt:lpstr>think-cell Slide</vt:lpstr>
      <vt:lpstr>PowerPoint Presentation</vt:lpstr>
      <vt:lpstr>Background </vt:lpstr>
      <vt:lpstr>Enclosures</vt:lpstr>
      <vt:lpstr>Overview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ared Services - Operations</dc:title>
  <dc:creator>James Keppler</dc:creator>
  <cp:lastModifiedBy>Nanette Sorich</cp:lastModifiedBy>
  <cp:revision>272</cp:revision>
  <dcterms:created xsi:type="dcterms:W3CDTF">2021-12-13T22:29:07Z</dcterms:created>
  <dcterms:modified xsi:type="dcterms:W3CDTF">2023-09-01T00:1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AE3F64B1A6994C9D36C7A8211F8978</vt:lpwstr>
  </property>
</Properties>
</file>